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5"/>
  </p:notesMasterIdLst>
  <p:sldIdLst>
    <p:sldId id="268" r:id="rId5"/>
    <p:sldId id="504" r:id="rId6"/>
    <p:sldId id="497" r:id="rId7"/>
    <p:sldId id="506" r:id="rId8"/>
    <p:sldId id="507" r:id="rId9"/>
    <p:sldId id="508" r:id="rId10"/>
    <p:sldId id="509" r:id="rId11"/>
    <p:sldId id="510" r:id="rId12"/>
    <p:sldId id="511" r:id="rId13"/>
    <p:sldId id="512" r:id="rId14"/>
    <p:sldId id="513" r:id="rId15"/>
    <p:sldId id="514" r:id="rId16"/>
    <p:sldId id="515" r:id="rId17"/>
    <p:sldId id="516" r:id="rId18"/>
    <p:sldId id="517" r:id="rId19"/>
    <p:sldId id="518" r:id="rId20"/>
    <p:sldId id="519" r:id="rId21"/>
    <p:sldId id="521" r:id="rId22"/>
    <p:sldId id="522" r:id="rId23"/>
    <p:sldId id="523" r:id="rId24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orre, Antonio" initials="TA" lastIdx="2" clrIdx="0">
    <p:extLst>
      <p:ext uri="{19B8F6BF-5375-455C-9EA6-DF929625EA0E}">
        <p15:presenceInfo xmlns:p15="http://schemas.microsoft.com/office/powerpoint/2012/main" userId="S-1-5-21-1506503333-1133455874-5522801-92334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EF29875-8C3A-4D87-A605-9D08EE139313}" v="89" dt="2023-11-08T17:32:26.06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ile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154" autoAdjust="0"/>
    <p:restoredTop sz="94660"/>
  </p:normalViewPr>
  <p:slideViewPr>
    <p:cSldViewPr snapToGrid="0">
      <p:cViewPr varScale="1">
        <p:scale>
          <a:sx n="127" d="100"/>
          <a:sy n="127" d="100"/>
        </p:scale>
        <p:origin x="778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orre, Antonio" userId="94e42298-7d1f-4e8a-aacf-f74dae48defd" providerId="ADAL" clId="{3526948C-0037-45B5-B5B4-76953ECAB1CF}"/>
    <pc:docChg chg="undo custSel addSld delSld modSld sldOrd">
      <pc:chgData name="Torre, Antonio" userId="94e42298-7d1f-4e8a-aacf-f74dae48defd" providerId="ADAL" clId="{3526948C-0037-45B5-B5B4-76953ECAB1CF}" dt="2023-03-09T04:44:41.473" v="1731" actId="5793"/>
      <pc:docMkLst>
        <pc:docMk/>
      </pc:docMkLst>
      <pc:sldChg chg="addSp delSp del">
        <pc:chgData name="Torre, Antonio" userId="94e42298-7d1f-4e8a-aacf-f74dae48defd" providerId="ADAL" clId="{3526948C-0037-45B5-B5B4-76953ECAB1CF}" dt="2023-03-08T23:07:19.399" v="90" actId="2696"/>
        <pc:sldMkLst>
          <pc:docMk/>
          <pc:sldMk cId="2041012035" sldId="256"/>
        </pc:sldMkLst>
        <pc:spChg chg="add del">
          <ac:chgData name="Torre, Antonio" userId="94e42298-7d1f-4e8a-aacf-f74dae48defd" providerId="ADAL" clId="{3526948C-0037-45B5-B5B4-76953ECAB1CF}" dt="2023-03-08T23:06:02.348" v="84"/>
          <ac:spMkLst>
            <pc:docMk/>
            <pc:sldMk cId="2041012035" sldId="256"/>
            <ac:spMk id="6" creationId="{916E48E2-E66E-4083-B13A-CA6DBD22FECD}"/>
          </ac:spMkLst>
        </pc:spChg>
        <pc:spChg chg="add del">
          <ac:chgData name="Torre, Antonio" userId="94e42298-7d1f-4e8a-aacf-f74dae48defd" providerId="ADAL" clId="{3526948C-0037-45B5-B5B4-76953ECAB1CF}" dt="2023-03-08T23:06:09.756" v="86"/>
          <ac:spMkLst>
            <pc:docMk/>
            <pc:sldMk cId="2041012035" sldId="256"/>
            <ac:spMk id="7" creationId="{EDA5DCC7-9DEE-471D-9216-5CA2CFC1DF1A}"/>
          </ac:spMkLst>
        </pc:spChg>
      </pc:sldChg>
      <pc:sldChg chg="del">
        <pc:chgData name="Torre, Antonio" userId="94e42298-7d1f-4e8a-aacf-f74dae48defd" providerId="ADAL" clId="{3526948C-0037-45B5-B5B4-76953ECAB1CF}" dt="2023-03-08T16:51:20.361" v="50" actId="2696"/>
        <pc:sldMkLst>
          <pc:docMk/>
          <pc:sldMk cId="394102445" sldId="257"/>
        </pc:sldMkLst>
      </pc:sldChg>
      <pc:sldChg chg="modSp add">
        <pc:chgData name="Torre, Antonio" userId="94e42298-7d1f-4e8a-aacf-f74dae48defd" providerId="ADAL" clId="{3526948C-0037-45B5-B5B4-76953ECAB1CF}" dt="2023-03-08T23:08:05.186" v="144" actId="20577"/>
        <pc:sldMkLst>
          <pc:docMk/>
          <pc:sldMk cId="3328428250" sldId="268"/>
        </pc:sldMkLst>
        <pc:spChg chg="mod">
          <ac:chgData name="Torre, Antonio" userId="94e42298-7d1f-4e8a-aacf-f74dae48defd" providerId="ADAL" clId="{3526948C-0037-45B5-B5B4-76953ECAB1CF}" dt="2023-03-08T23:07:15.828" v="88" actId="27636"/>
          <ac:spMkLst>
            <pc:docMk/>
            <pc:sldMk cId="3328428250" sldId="268"/>
            <ac:spMk id="8" creationId="{00000000-0000-0000-0000-000000000000}"/>
          </ac:spMkLst>
        </pc:spChg>
        <pc:spChg chg="mod">
          <ac:chgData name="Torre, Antonio" userId="94e42298-7d1f-4e8a-aacf-f74dae48defd" providerId="ADAL" clId="{3526948C-0037-45B5-B5B4-76953ECAB1CF}" dt="2023-03-08T23:08:05.186" v="144" actId="20577"/>
          <ac:spMkLst>
            <pc:docMk/>
            <pc:sldMk cId="3328428250" sldId="268"/>
            <ac:spMk id="10" creationId="{7D0F4E9E-D4B3-B547-A9DC-4D8880C9F46D}"/>
          </ac:spMkLst>
        </pc:spChg>
        <pc:spChg chg="mod">
          <ac:chgData name="Torre, Antonio" userId="94e42298-7d1f-4e8a-aacf-f74dae48defd" providerId="ADAL" clId="{3526948C-0037-45B5-B5B4-76953ECAB1CF}" dt="2023-03-08T23:07:35.555" v="103" actId="20577"/>
          <ac:spMkLst>
            <pc:docMk/>
            <pc:sldMk cId="3328428250" sldId="268"/>
            <ac:spMk id="11" creationId="{CADB838D-94AC-C545-9C3D-3E09738A3753}"/>
          </ac:spMkLst>
        </pc:spChg>
      </pc:sldChg>
      <pc:sldChg chg="modSp add">
        <pc:chgData name="Torre, Antonio" userId="94e42298-7d1f-4e8a-aacf-f74dae48defd" providerId="ADAL" clId="{3526948C-0037-45B5-B5B4-76953ECAB1CF}" dt="2023-03-08T23:22:51.293" v="151" actId="20577"/>
        <pc:sldMkLst>
          <pc:docMk/>
          <pc:sldMk cId="1471350083" sldId="388"/>
        </pc:sldMkLst>
        <pc:spChg chg="mod">
          <ac:chgData name="Torre, Antonio" userId="94e42298-7d1f-4e8a-aacf-f74dae48defd" providerId="ADAL" clId="{3526948C-0037-45B5-B5B4-76953ECAB1CF}" dt="2023-03-08T23:22:51.293" v="151" actId="20577"/>
          <ac:spMkLst>
            <pc:docMk/>
            <pc:sldMk cId="1471350083" sldId="388"/>
            <ac:spMk id="3" creationId="{00000000-0000-0000-0000-000000000000}"/>
          </ac:spMkLst>
        </pc:spChg>
        <pc:spChg chg="mod">
          <ac:chgData name="Torre, Antonio" userId="94e42298-7d1f-4e8a-aacf-f74dae48defd" providerId="ADAL" clId="{3526948C-0037-45B5-B5B4-76953ECAB1CF}" dt="2023-03-08T23:07:15.935" v="89" actId="27636"/>
          <ac:spMkLst>
            <pc:docMk/>
            <pc:sldMk cId="1471350083" sldId="388"/>
            <ac:spMk id="4" creationId="{00000000-0000-0000-0000-000000000000}"/>
          </ac:spMkLst>
        </pc:spChg>
      </pc:sldChg>
      <pc:sldChg chg="addSp modSp add">
        <pc:chgData name="Torre, Antonio" userId="94e42298-7d1f-4e8a-aacf-f74dae48defd" providerId="ADAL" clId="{3526948C-0037-45B5-B5B4-76953ECAB1CF}" dt="2023-03-09T03:38:43.315" v="782" actId="14100"/>
        <pc:sldMkLst>
          <pc:docMk/>
          <pc:sldMk cId="321595399" sldId="494"/>
        </pc:sldMkLst>
        <pc:spChg chg="add mod">
          <ac:chgData name="Torre, Antonio" userId="94e42298-7d1f-4e8a-aacf-f74dae48defd" providerId="ADAL" clId="{3526948C-0037-45B5-B5B4-76953ECAB1CF}" dt="2023-03-09T03:38:27.841" v="780"/>
          <ac:spMkLst>
            <pc:docMk/>
            <pc:sldMk cId="321595399" sldId="494"/>
            <ac:spMk id="7" creationId="{269A46B7-C1FB-4D8A-9039-D33820F7CCF4}"/>
          </ac:spMkLst>
        </pc:spChg>
        <pc:spChg chg="mod">
          <ac:chgData name="Torre, Antonio" userId="94e42298-7d1f-4e8a-aacf-f74dae48defd" providerId="ADAL" clId="{3526948C-0037-45B5-B5B4-76953ECAB1CF}" dt="2023-03-09T00:00:08.716" v="246" actId="20577"/>
          <ac:spMkLst>
            <pc:docMk/>
            <pc:sldMk cId="321595399" sldId="494"/>
            <ac:spMk id="9" creationId="{92C4D6DD-881B-984A-9C92-27BA5BC27568}"/>
          </ac:spMkLst>
        </pc:spChg>
        <pc:cxnChg chg="add mod">
          <ac:chgData name="Torre, Antonio" userId="94e42298-7d1f-4e8a-aacf-f74dae48defd" providerId="ADAL" clId="{3526948C-0037-45B5-B5B4-76953ECAB1CF}" dt="2023-03-09T03:38:43.315" v="782" actId="14100"/>
          <ac:cxnSpMkLst>
            <pc:docMk/>
            <pc:sldMk cId="321595399" sldId="494"/>
            <ac:cxnSpMk id="10" creationId="{67941BFF-7EB5-4075-80B0-C69F79175EB8}"/>
          </ac:cxnSpMkLst>
        </pc:cxnChg>
      </pc:sldChg>
      <pc:sldChg chg="addSp delSp modSp add addCm delCm modCm">
        <pc:chgData name="Torre, Antonio" userId="94e42298-7d1f-4e8a-aacf-f74dae48defd" providerId="ADAL" clId="{3526948C-0037-45B5-B5B4-76953ECAB1CF}" dt="2023-03-09T03:47:13.228" v="1192" actId="20577"/>
        <pc:sldMkLst>
          <pc:docMk/>
          <pc:sldMk cId="2833516416" sldId="495"/>
        </pc:sldMkLst>
        <pc:spChg chg="del">
          <ac:chgData name="Torre, Antonio" userId="94e42298-7d1f-4e8a-aacf-f74dae48defd" providerId="ADAL" clId="{3526948C-0037-45B5-B5B4-76953ECAB1CF}" dt="2023-03-07T20:34:40.739" v="8" actId="478"/>
          <ac:spMkLst>
            <pc:docMk/>
            <pc:sldMk cId="2833516416" sldId="495"/>
            <ac:spMk id="4" creationId="{00000000-0000-0000-0000-000000000000}"/>
          </ac:spMkLst>
        </pc:spChg>
        <pc:spChg chg="add mod">
          <ac:chgData name="Torre, Antonio" userId="94e42298-7d1f-4e8a-aacf-f74dae48defd" providerId="ADAL" clId="{3526948C-0037-45B5-B5B4-76953ECAB1CF}" dt="2023-03-09T01:56:33.794" v="286" actId="20577"/>
          <ac:spMkLst>
            <pc:docMk/>
            <pc:sldMk cId="2833516416" sldId="495"/>
            <ac:spMk id="7" creationId="{6A7D13CA-B6D2-4576-ADED-B16D6625073F}"/>
          </ac:spMkLst>
        </pc:spChg>
        <pc:spChg chg="add del">
          <ac:chgData name="Torre, Antonio" userId="94e42298-7d1f-4e8a-aacf-f74dae48defd" providerId="ADAL" clId="{3526948C-0037-45B5-B5B4-76953ECAB1CF}" dt="2023-03-09T01:51:37.495" v="255"/>
          <ac:spMkLst>
            <pc:docMk/>
            <pc:sldMk cId="2833516416" sldId="495"/>
            <ac:spMk id="8" creationId="{42A44132-D213-4219-AD7C-0FF441B62BA8}"/>
          </ac:spMkLst>
        </pc:spChg>
        <pc:spChg chg="mod">
          <ac:chgData name="Torre, Antonio" userId="94e42298-7d1f-4e8a-aacf-f74dae48defd" providerId="ADAL" clId="{3526948C-0037-45B5-B5B4-76953ECAB1CF}" dt="2023-03-07T21:45:51.712" v="48" actId="20577"/>
          <ac:spMkLst>
            <pc:docMk/>
            <pc:sldMk cId="2833516416" sldId="495"/>
            <ac:spMk id="9" creationId="{92C4D6DD-881B-984A-9C92-27BA5BC27568}"/>
          </ac:spMkLst>
        </pc:spChg>
        <pc:spChg chg="del">
          <ac:chgData name="Torre, Antonio" userId="94e42298-7d1f-4e8a-aacf-f74dae48defd" providerId="ADAL" clId="{3526948C-0037-45B5-B5B4-76953ECAB1CF}" dt="2023-03-07T20:34:40.739" v="8" actId="478"/>
          <ac:spMkLst>
            <pc:docMk/>
            <pc:sldMk cId="2833516416" sldId="495"/>
            <ac:spMk id="11" creationId="{9AC7BC1A-286D-468A-A7C0-3E5A3C0F55A6}"/>
          </ac:spMkLst>
        </pc:spChg>
        <pc:spChg chg="add mod">
          <ac:chgData name="Torre, Antonio" userId="94e42298-7d1f-4e8a-aacf-f74dae48defd" providerId="ADAL" clId="{3526948C-0037-45B5-B5B4-76953ECAB1CF}" dt="2023-03-09T03:25:01.160" v="633" actId="1076"/>
          <ac:spMkLst>
            <pc:docMk/>
            <pc:sldMk cId="2833516416" sldId="495"/>
            <ac:spMk id="14" creationId="{233FA3C0-D1F3-4E70-9C9D-054669B0325D}"/>
          </ac:spMkLst>
        </pc:spChg>
        <pc:spChg chg="del">
          <ac:chgData name="Torre, Antonio" userId="94e42298-7d1f-4e8a-aacf-f74dae48defd" providerId="ADAL" clId="{3526948C-0037-45B5-B5B4-76953ECAB1CF}" dt="2023-03-07T20:34:40.739" v="8" actId="478"/>
          <ac:spMkLst>
            <pc:docMk/>
            <pc:sldMk cId="2833516416" sldId="495"/>
            <ac:spMk id="16" creationId="{5B003D33-9698-4282-9C6D-4C651766F487}"/>
          </ac:spMkLst>
        </pc:spChg>
        <pc:spChg chg="add mod">
          <ac:chgData name="Torre, Antonio" userId="94e42298-7d1f-4e8a-aacf-f74dae48defd" providerId="ADAL" clId="{3526948C-0037-45B5-B5B4-76953ECAB1CF}" dt="2023-03-09T03:26:20.442" v="673" actId="20577"/>
          <ac:spMkLst>
            <pc:docMk/>
            <pc:sldMk cId="2833516416" sldId="495"/>
            <ac:spMk id="19" creationId="{1C069F2E-C9E8-4F0A-AC8E-EE5E3582542A}"/>
          </ac:spMkLst>
        </pc:spChg>
        <pc:spChg chg="add mod">
          <ac:chgData name="Torre, Antonio" userId="94e42298-7d1f-4e8a-aacf-f74dae48defd" providerId="ADAL" clId="{3526948C-0037-45B5-B5B4-76953ECAB1CF}" dt="2023-03-09T03:29:40.922" v="732" actId="20577"/>
          <ac:spMkLst>
            <pc:docMk/>
            <pc:sldMk cId="2833516416" sldId="495"/>
            <ac:spMk id="27" creationId="{335B4848-6C20-4BBB-9009-14789B98F9D0}"/>
          </ac:spMkLst>
        </pc:spChg>
        <pc:spChg chg="add mod">
          <ac:chgData name="Torre, Antonio" userId="94e42298-7d1f-4e8a-aacf-f74dae48defd" providerId="ADAL" clId="{3526948C-0037-45B5-B5B4-76953ECAB1CF}" dt="2023-03-09T03:30:16.345" v="737" actId="1076"/>
          <ac:spMkLst>
            <pc:docMk/>
            <pc:sldMk cId="2833516416" sldId="495"/>
            <ac:spMk id="33" creationId="{D6BF9E1B-7D7F-4D5D-B4DD-8DD28F5011F1}"/>
          </ac:spMkLst>
        </pc:spChg>
        <pc:spChg chg="add del mod">
          <ac:chgData name="Torre, Antonio" userId="94e42298-7d1f-4e8a-aacf-f74dae48defd" providerId="ADAL" clId="{3526948C-0037-45B5-B5B4-76953ECAB1CF}" dt="2023-03-09T03:40:08.906" v="789" actId="478"/>
          <ac:spMkLst>
            <pc:docMk/>
            <pc:sldMk cId="2833516416" sldId="495"/>
            <ac:spMk id="36" creationId="{751D7B75-BE12-4186-9B37-9531360C9846}"/>
          </ac:spMkLst>
        </pc:spChg>
        <pc:spChg chg="add mod">
          <ac:chgData name="Torre, Antonio" userId="94e42298-7d1f-4e8a-aacf-f74dae48defd" providerId="ADAL" clId="{3526948C-0037-45B5-B5B4-76953ECAB1CF}" dt="2023-03-09T03:42:25.724" v="973" actId="20577"/>
          <ac:spMkLst>
            <pc:docMk/>
            <pc:sldMk cId="2833516416" sldId="495"/>
            <ac:spMk id="37" creationId="{B51E2460-683B-4E99-AE59-10251B640371}"/>
          </ac:spMkLst>
        </pc:spChg>
        <pc:spChg chg="add mod">
          <ac:chgData name="Torre, Antonio" userId="94e42298-7d1f-4e8a-aacf-f74dae48defd" providerId="ADAL" clId="{3526948C-0037-45B5-B5B4-76953ECAB1CF}" dt="2023-03-09T03:47:13.228" v="1192" actId="20577"/>
          <ac:spMkLst>
            <pc:docMk/>
            <pc:sldMk cId="2833516416" sldId="495"/>
            <ac:spMk id="40" creationId="{E9358E93-82BA-416E-95B3-D6558EB821CA}"/>
          </ac:spMkLst>
        </pc:spChg>
        <pc:picChg chg="del">
          <ac:chgData name="Torre, Antonio" userId="94e42298-7d1f-4e8a-aacf-f74dae48defd" providerId="ADAL" clId="{3526948C-0037-45B5-B5B4-76953ECAB1CF}" dt="2023-03-07T20:34:40.739" v="8" actId="478"/>
          <ac:picMkLst>
            <pc:docMk/>
            <pc:sldMk cId="2833516416" sldId="495"/>
            <ac:picMk id="5" creationId="{59240EA7-3B49-4AD0-8188-03DCA5882F19}"/>
          </ac:picMkLst>
        </pc:picChg>
        <pc:picChg chg="add mod">
          <ac:chgData name="Torre, Antonio" userId="94e42298-7d1f-4e8a-aacf-f74dae48defd" providerId="ADAL" clId="{3526948C-0037-45B5-B5B4-76953ECAB1CF}" dt="2023-03-09T03:22:02.433" v="597" actId="14100"/>
          <ac:picMkLst>
            <pc:docMk/>
            <pc:sldMk cId="2833516416" sldId="495"/>
            <ac:picMk id="10" creationId="{8A61C367-B0E2-423A-BED3-1512349611D3}"/>
          </ac:picMkLst>
        </pc:picChg>
        <pc:picChg chg="del">
          <ac:chgData name="Torre, Antonio" userId="94e42298-7d1f-4e8a-aacf-f74dae48defd" providerId="ADAL" clId="{3526948C-0037-45B5-B5B4-76953ECAB1CF}" dt="2023-03-07T20:34:40.739" v="8" actId="478"/>
          <ac:picMkLst>
            <pc:docMk/>
            <pc:sldMk cId="2833516416" sldId="495"/>
            <ac:picMk id="15" creationId="{074E8141-E25F-48CC-ADC7-0828370406BD}"/>
          </ac:picMkLst>
        </pc:picChg>
        <pc:cxnChg chg="add del mod">
          <ac:chgData name="Torre, Antonio" userId="94e42298-7d1f-4e8a-aacf-f74dae48defd" providerId="ADAL" clId="{3526948C-0037-45B5-B5B4-76953ECAB1CF}" dt="2023-03-09T03:22:26.405" v="600" actId="478"/>
          <ac:cxnSpMkLst>
            <pc:docMk/>
            <pc:sldMk cId="2833516416" sldId="495"/>
            <ac:cxnSpMk id="13" creationId="{EBC0A2D5-4E15-42E4-A04E-1DAC65C85C91}"/>
          </ac:cxnSpMkLst>
        </pc:cxnChg>
        <pc:cxnChg chg="add mod">
          <ac:chgData name="Torre, Antonio" userId="94e42298-7d1f-4e8a-aacf-f74dae48defd" providerId="ADAL" clId="{3526948C-0037-45B5-B5B4-76953ECAB1CF}" dt="2023-03-09T03:24:45.953" v="632" actId="11529"/>
          <ac:cxnSpMkLst>
            <pc:docMk/>
            <pc:sldMk cId="2833516416" sldId="495"/>
            <ac:cxnSpMk id="18" creationId="{A1E98899-F300-4EF8-A077-25485CF85916}"/>
          </ac:cxnSpMkLst>
        </pc:cxnChg>
        <pc:cxnChg chg="add mod">
          <ac:chgData name="Torre, Antonio" userId="94e42298-7d1f-4e8a-aacf-f74dae48defd" providerId="ADAL" clId="{3526948C-0037-45B5-B5B4-76953ECAB1CF}" dt="2023-03-09T03:26:31.425" v="677" actId="14100"/>
          <ac:cxnSpMkLst>
            <pc:docMk/>
            <pc:sldMk cId="2833516416" sldId="495"/>
            <ac:cxnSpMk id="20" creationId="{E6846C82-FEF5-4721-A6FD-D7A1FD3F2CAD}"/>
          </ac:cxnSpMkLst>
        </pc:cxnChg>
        <pc:cxnChg chg="add mod">
          <ac:chgData name="Torre, Antonio" userId="94e42298-7d1f-4e8a-aacf-f74dae48defd" providerId="ADAL" clId="{3526948C-0037-45B5-B5B4-76953ECAB1CF}" dt="2023-03-09T03:26:41.177" v="678" actId="14100"/>
          <ac:cxnSpMkLst>
            <pc:docMk/>
            <pc:sldMk cId="2833516416" sldId="495"/>
            <ac:cxnSpMk id="22" creationId="{BB34AC03-EDE6-4CE1-9FE1-924F480BB640}"/>
          </ac:cxnSpMkLst>
        </pc:cxnChg>
        <pc:cxnChg chg="add mod">
          <ac:chgData name="Torre, Antonio" userId="94e42298-7d1f-4e8a-aacf-f74dae48defd" providerId="ADAL" clId="{3526948C-0037-45B5-B5B4-76953ECAB1CF}" dt="2023-03-09T03:29:52.770" v="734" actId="14100"/>
          <ac:cxnSpMkLst>
            <pc:docMk/>
            <pc:sldMk cId="2833516416" sldId="495"/>
            <ac:cxnSpMk id="28" creationId="{E314A394-7FF8-40B2-989A-C36C50E93F96}"/>
          </ac:cxnSpMkLst>
        </pc:cxnChg>
        <pc:cxnChg chg="add mod">
          <ac:chgData name="Torre, Antonio" userId="94e42298-7d1f-4e8a-aacf-f74dae48defd" providerId="ADAL" clId="{3526948C-0037-45B5-B5B4-76953ECAB1CF}" dt="2023-03-09T03:30:21.121" v="738" actId="14100"/>
          <ac:cxnSpMkLst>
            <pc:docMk/>
            <pc:sldMk cId="2833516416" sldId="495"/>
            <ac:cxnSpMk id="34" creationId="{C58819FE-6157-4BB0-B6DE-0AB71407B8D9}"/>
          </ac:cxnSpMkLst>
        </pc:cxnChg>
        <pc:cxnChg chg="add mod">
          <ac:chgData name="Torre, Antonio" userId="94e42298-7d1f-4e8a-aacf-f74dae48defd" providerId="ADAL" clId="{3526948C-0037-45B5-B5B4-76953ECAB1CF}" dt="2023-03-09T03:40:04.610" v="788" actId="14100"/>
          <ac:cxnSpMkLst>
            <pc:docMk/>
            <pc:sldMk cId="2833516416" sldId="495"/>
            <ac:cxnSpMk id="38" creationId="{88B81EC1-2187-4E67-ABEC-3A2702158C95}"/>
          </ac:cxnSpMkLst>
        </pc:cxnChg>
        <pc:cxnChg chg="add mod">
          <ac:chgData name="Torre, Antonio" userId="94e42298-7d1f-4e8a-aacf-f74dae48defd" providerId="ADAL" clId="{3526948C-0037-45B5-B5B4-76953ECAB1CF}" dt="2023-03-09T03:43:33.495" v="976" actId="14100"/>
          <ac:cxnSpMkLst>
            <pc:docMk/>
            <pc:sldMk cId="2833516416" sldId="495"/>
            <ac:cxnSpMk id="41" creationId="{63972855-62CE-47CB-8C0B-1A8051CCCE80}"/>
          </ac:cxnSpMkLst>
        </pc:cxnChg>
      </pc:sldChg>
      <pc:sldChg chg="addSp delSp modSp add">
        <pc:chgData name="Torre, Antonio" userId="94e42298-7d1f-4e8a-aacf-f74dae48defd" providerId="ADAL" clId="{3526948C-0037-45B5-B5B4-76953ECAB1CF}" dt="2023-03-09T03:59:25.119" v="1558" actId="20577"/>
        <pc:sldMkLst>
          <pc:docMk/>
          <pc:sldMk cId="2474844034" sldId="496"/>
        </pc:sldMkLst>
        <pc:spChg chg="mod">
          <ac:chgData name="Torre, Antonio" userId="94e42298-7d1f-4e8a-aacf-f74dae48defd" providerId="ADAL" clId="{3526948C-0037-45B5-B5B4-76953ECAB1CF}" dt="2023-03-09T03:59:25.119" v="1558" actId="20577"/>
          <ac:spMkLst>
            <pc:docMk/>
            <pc:sldMk cId="2474844034" sldId="496"/>
            <ac:spMk id="4" creationId="{00000000-0000-0000-0000-000000000000}"/>
          </ac:spMkLst>
        </pc:spChg>
        <pc:spChg chg="mod">
          <ac:chgData name="Torre, Antonio" userId="94e42298-7d1f-4e8a-aacf-f74dae48defd" providerId="ADAL" clId="{3526948C-0037-45B5-B5B4-76953ECAB1CF}" dt="2023-03-09T03:49:24.936" v="1196"/>
          <ac:spMkLst>
            <pc:docMk/>
            <pc:sldMk cId="2474844034" sldId="496"/>
            <ac:spMk id="9" creationId="{92C4D6DD-881B-984A-9C92-27BA5BC27568}"/>
          </ac:spMkLst>
        </pc:spChg>
        <pc:spChg chg="del mod">
          <ac:chgData name="Torre, Antonio" userId="94e42298-7d1f-4e8a-aacf-f74dae48defd" providerId="ADAL" clId="{3526948C-0037-45B5-B5B4-76953ECAB1CF}" dt="2023-03-09T03:49:32.047" v="1197" actId="478"/>
          <ac:spMkLst>
            <pc:docMk/>
            <pc:sldMk cId="2474844034" sldId="496"/>
            <ac:spMk id="11" creationId="{9AC7BC1A-286D-468A-A7C0-3E5A3C0F55A6}"/>
          </ac:spMkLst>
        </pc:spChg>
        <pc:spChg chg="del mod">
          <ac:chgData name="Torre, Antonio" userId="94e42298-7d1f-4e8a-aacf-f74dae48defd" providerId="ADAL" clId="{3526948C-0037-45B5-B5B4-76953ECAB1CF}" dt="2023-03-09T03:49:32.047" v="1197" actId="478"/>
          <ac:spMkLst>
            <pc:docMk/>
            <pc:sldMk cId="2474844034" sldId="496"/>
            <ac:spMk id="16" creationId="{5B003D33-9698-4282-9C6D-4C651766F487}"/>
          </ac:spMkLst>
        </pc:spChg>
        <pc:picChg chg="del mod">
          <ac:chgData name="Torre, Antonio" userId="94e42298-7d1f-4e8a-aacf-f74dae48defd" providerId="ADAL" clId="{3526948C-0037-45B5-B5B4-76953ECAB1CF}" dt="2023-03-09T03:49:32.047" v="1197" actId="478"/>
          <ac:picMkLst>
            <pc:docMk/>
            <pc:sldMk cId="2474844034" sldId="496"/>
            <ac:picMk id="5" creationId="{59240EA7-3B49-4AD0-8188-03DCA5882F19}"/>
          </ac:picMkLst>
        </pc:picChg>
        <pc:picChg chg="add del mod">
          <ac:chgData name="Torre, Antonio" userId="94e42298-7d1f-4e8a-aacf-f74dae48defd" providerId="ADAL" clId="{3526948C-0037-45B5-B5B4-76953ECAB1CF}" dt="2023-03-07T21:31:30.709" v="21"/>
          <ac:picMkLst>
            <pc:docMk/>
            <pc:sldMk cId="2474844034" sldId="496"/>
            <ac:picMk id="7" creationId="{653C6C76-56AA-4CAA-825C-D72A4F1A02FD}"/>
          </ac:picMkLst>
        </pc:picChg>
        <pc:picChg chg="del mod">
          <ac:chgData name="Torre, Antonio" userId="94e42298-7d1f-4e8a-aacf-f74dae48defd" providerId="ADAL" clId="{3526948C-0037-45B5-B5B4-76953ECAB1CF}" dt="2023-03-09T03:49:32.047" v="1197" actId="478"/>
          <ac:picMkLst>
            <pc:docMk/>
            <pc:sldMk cId="2474844034" sldId="496"/>
            <ac:picMk id="15" creationId="{074E8141-E25F-48CC-ADC7-0828370406BD}"/>
          </ac:picMkLst>
        </pc:picChg>
      </pc:sldChg>
      <pc:sldChg chg="addSp delSp modSp add">
        <pc:chgData name="Torre, Antonio" userId="94e42298-7d1f-4e8a-aacf-f74dae48defd" providerId="ADAL" clId="{3526948C-0037-45B5-B5B4-76953ECAB1CF}" dt="2023-03-08T23:49:33.545" v="245" actId="1076"/>
        <pc:sldMkLst>
          <pc:docMk/>
          <pc:sldMk cId="1794834220" sldId="497"/>
        </pc:sldMkLst>
        <pc:spChg chg="add del mod">
          <ac:chgData name="Torre, Antonio" userId="94e42298-7d1f-4e8a-aacf-f74dae48defd" providerId="ADAL" clId="{3526948C-0037-45B5-B5B4-76953ECAB1CF}" dt="2023-03-08T23:44:57.953" v="199"/>
          <ac:spMkLst>
            <pc:docMk/>
            <pc:sldMk cId="1794834220" sldId="497"/>
            <ac:spMk id="4" creationId="{00000000-0000-0000-0000-000000000000}"/>
          </ac:spMkLst>
        </pc:spChg>
        <pc:spChg chg="add del">
          <ac:chgData name="Torre, Antonio" userId="94e42298-7d1f-4e8a-aacf-f74dae48defd" providerId="ADAL" clId="{3526948C-0037-45B5-B5B4-76953ECAB1CF}" dt="2023-03-08T23:34:02.863" v="156"/>
          <ac:spMkLst>
            <pc:docMk/>
            <pc:sldMk cId="1794834220" sldId="497"/>
            <ac:spMk id="7" creationId="{63AFC1D3-073F-4D1F-A94F-1462B1E98B5F}"/>
          </ac:spMkLst>
        </pc:spChg>
        <pc:spChg chg="add del">
          <ac:chgData name="Torre, Antonio" userId="94e42298-7d1f-4e8a-aacf-f74dae48defd" providerId="ADAL" clId="{3526948C-0037-45B5-B5B4-76953ECAB1CF}" dt="2023-03-08T23:34:04.684" v="158"/>
          <ac:spMkLst>
            <pc:docMk/>
            <pc:sldMk cId="1794834220" sldId="497"/>
            <ac:spMk id="8" creationId="{AD614B18-3105-4F22-8BA1-938779CE31BC}"/>
          </ac:spMkLst>
        </pc:spChg>
        <pc:spChg chg="mod">
          <ac:chgData name="Torre, Antonio" userId="94e42298-7d1f-4e8a-aacf-f74dae48defd" providerId="ADAL" clId="{3526948C-0037-45B5-B5B4-76953ECAB1CF}" dt="2023-03-08T17:01:01.532" v="52"/>
          <ac:spMkLst>
            <pc:docMk/>
            <pc:sldMk cId="1794834220" sldId="497"/>
            <ac:spMk id="9" creationId="{92C4D6DD-881B-984A-9C92-27BA5BC27568}"/>
          </ac:spMkLst>
        </pc:spChg>
        <pc:spChg chg="add del">
          <ac:chgData name="Torre, Antonio" userId="94e42298-7d1f-4e8a-aacf-f74dae48defd" providerId="ADAL" clId="{3526948C-0037-45B5-B5B4-76953ECAB1CF}" dt="2023-03-08T23:34:07.111" v="160"/>
          <ac:spMkLst>
            <pc:docMk/>
            <pc:sldMk cId="1794834220" sldId="497"/>
            <ac:spMk id="10" creationId="{952B3289-ACA5-4841-B558-D6E379287E2B}"/>
          </ac:spMkLst>
        </pc:spChg>
        <pc:spChg chg="del">
          <ac:chgData name="Torre, Antonio" userId="94e42298-7d1f-4e8a-aacf-f74dae48defd" providerId="ADAL" clId="{3526948C-0037-45B5-B5B4-76953ECAB1CF}" dt="2023-03-08T17:01:11.669" v="53" actId="478"/>
          <ac:spMkLst>
            <pc:docMk/>
            <pc:sldMk cId="1794834220" sldId="497"/>
            <ac:spMk id="11" creationId="{9AC7BC1A-286D-468A-A7C0-3E5A3C0F55A6}"/>
          </ac:spMkLst>
        </pc:spChg>
        <pc:spChg chg="add del">
          <ac:chgData name="Torre, Antonio" userId="94e42298-7d1f-4e8a-aacf-f74dae48defd" providerId="ADAL" clId="{3526948C-0037-45B5-B5B4-76953ECAB1CF}" dt="2023-03-08T23:34:13.260" v="162"/>
          <ac:spMkLst>
            <pc:docMk/>
            <pc:sldMk cId="1794834220" sldId="497"/>
            <ac:spMk id="12" creationId="{541608CC-B6D8-4788-AA93-8E19406BD094}"/>
          </ac:spMkLst>
        </pc:spChg>
        <pc:spChg chg="del">
          <ac:chgData name="Torre, Antonio" userId="94e42298-7d1f-4e8a-aacf-f74dae48defd" providerId="ADAL" clId="{3526948C-0037-45B5-B5B4-76953ECAB1CF}" dt="2023-03-08T17:01:11.669" v="53" actId="478"/>
          <ac:spMkLst>
            <pc:docMk/>
            <pc:sldMk cId="1794834220" sldId="497"/>
            <ac:spMk id="16" creationId="{5B003D33-9698-4282-9C6D-4C651766F487}"/>
          </ac:spMkLst>
        </pc:spChg>
        <pc:spChg chg="add mod">
          <ac:chgData name="Torre, Antonio" userId="94e42298-7d1f-4e8a-aacf-f74dae48defd" providerId="ADAL" clId="{3526948C-0037-45B5-B5B4-76953ECAB1CF}" dt="2023-03-08T23:49:33.545" v="245" actId="1076"/>
          <ac:spMkLst>
            <pc:docMk/>
            <pc:sldMk cId="1794834220" sldId="497"/>
            <ac:spMk id="18" creationId="{87BE2B43-4EFB-44C5-AD78-E8BC10FA9565}"/>
          </ac:spMkLst>
        </pc:spChg>
        <pc:graphicFrameChg chg="add del mod">
          <ac:chgData name="Torre, Antonio" userId="94e42298-7d1f-4e8a-aacf-f74dae48defd" providerId="ADAL" clId="{3526948C-0037-45B5-B5B4-76953ECAB1CF}" dt="2023-03-08T23:42:56.056" v="193" actId="478"/>
          <ac:graphicFrameMkLst>
            <pc:docMk/>
            <pc:sldMk cId="1794834220" sldId="497"/>
            <ac:graphicFrameMk id="13" creationId="{2EA9FD35-5BFF-40DF-A467-0C5941A3DB4F}"/>
          </ac:graphicFrameMkLst>
        </pc:graphicFrameChg>
        <pc:graphicFrameChg chg="add mod">
          <ac:chgData name="Torre, Antonio" userId="94e42298-7d1f-4e8a-aacf-f74dae48defd" providerId="ADAL" clId="{3526948C-0037-45B5-B5B4-76953ECAB1CF}" dt="2023-03-08T23:46:26.016" v="201" actId="1076"/>
          <ac:graphicFrameMkLst>
            <pc:docMk/>
            <pc:sldMk cId="1794834220" sldId="497"/>
            <ac:graphicFrameMk id="14" creationId="{1410E52F-0762-40B6-AFB1-AEA4AEEE9A05}"/>
          </ac:graphicFrameMkLst>
        </pc:graphicFrameChg>
        <pc:picChg chg="del">
          <ac:chgData name="Torre, Antonio" userId="94e42298-7d1f-4e8a-aacf-f74dae48defd" providerId="ADAL" clId="{3526948C-0037-45B5-B5B4-76953ECAB1CF}" dt="2023-03-08T17:01:11.669" v="53" actId="478"/>
          <ac:picMkLst>
            <pc:docMk/>
            <pc:sldMk cId="1794834220" sldId="497"/>
            <ac:picMk id="5" creationId="{59240EA7-3B49-4AD0-8188-03DCA5882F19}"/>
          </ac:picMkLst>
        </pc:picChg>
        <pc:picChg chg="del">
          <ac:chgData name="Torre, Antonio" userId="94e42298-7d1f-4e8a-aacf-f74dae48defd" providerId="ADAL" clId="{3526948C-0037-45B5-B5B4-76953ECAB1CF}" dt="2023-03-08T17:01:11.669" v="53" actId="478"/>
          <ac:picMkLst>
            <pc:docMk/>
            <pc:sldMk cId="1794834220" sldId="497"/>
            <ac:picMk id="15" creationId="{074E8141-E25F-48CC-ADC7-0828370406BD}"/>
          </ac:picMkLst>
        </pc:picChg>
        <pc:picChg chg="del">
          <ac:chgData name="Torre, Antonio" userId="94e42298-7d1f-4e8a-aacf-f74dae48defd" providerId="ADAL" clId="{3526948C-0037-45B5-B5B4-76953ECAB1CF}" dt="2023-03-08T17:01:11.669" v="53" actId="478"/>
          <ac:picMkLst>
            <pc:docMk/>
            <pc:sldMk cId="1794834220" sldId="497"/>
            <ac:picMk id="17" creationId="{FECD2551-DB3B-459F-83E7-3BF0DCF113A4}"/>
          </ac:picMkLst>
        </pc:picChg>
        <pc:picChg chg="add del mod">
          <ac:chgData name="Torre, Antonio" userId="94e42298-7d1f-4e8a-aacf-f74dae48defd" providerId="ADAL" clId="{3526948C-0037-45B5-B5B4-76953ECAB1CF}" dt="2023-03-08T21:56:07.540" v="75"/>
          <ac:picMkLst>
            <pc:docMk/>
            <pc:sldMk cId="1794834220" sldId="497"/>
            <ac:picMk id="6149" creationId="{76D734AE-541C-4713-A1DB-BF773F9DF265}"/>
          </ac:picMkLst>
        </pc:picChg>
      </pc:sldChg>
      <pc:sldChg chg="addSp delSp modSp add">
        <pc:chgData name="Torre, Antonio" userId="94e42298-7d1f-4e8a-aacf-f74dae48defd" providerId="ADAL" clId="{3526948C-0037-45B5-B5B4-76953ECAB1CF}" dt="2023-03-09T02:35:47.604" v="421" actId="20577"/>
        <pc:sldMkLst>
          <pc:docMk/>
          <pc:sldMk cId="3651239714" sldId="498"/>
        </pc:sldMkLst>
        <pc:spChg chg="add mod">
          <ac:chgData name="Torre, Antonio" userId="94e42298-7d1f-4e8a-aacf-f74dae48defd" providerId="ADAL" clId="{3526948C-0037-45B5-B5B4-76953ECAB1CF}" dt="2023-03-09T02:35:47.604" v="421" actId="20577"/>
          <ac:spMkLst>
            <pc:docMk/>
            <pc:sldMk cId="3651239714" sldId="498"/>
            <ac:spMk id="5" creationId="{E0FEB50F-A95E-4652-BE1C-BEB983A1CE07}"/>
          </ac:spMkLst>
        </pc:spChg>
        <pc:spChg chg="mod">
          <ac:chgData name="Torre, Antonio" userId="94e42298-7d1f-4e8a-aacf-f74dae48defd" providerId="ADAL" clId="{3526948C-0037-45B5-B5B4-76953ECAB1CF}" dt="2023-03-09T02:21:49.188" v="369"/>
          <ac:spMkLst>
            <pc:docMk/>
            <pc:sldMk cId="3651239714" sldId="498"/>
            <ac:spMk id="7" creationId="{6A7D13CA-B6D2-4576-ADED-B16D6625073F}"/>
          </ac:spMkLst>
        </pc:spChg>
        <pc:spChg chg="add del">
          <ac:chgData name="Torre, Antonio" userId="94e42298-7d1f-4e8a-aacf-f74dae48defd" providerId="ADAL" clId="{3526948C-0037-45B5-B5B4-76953ECAB1CF}" dt="2023-03-09T02:23:26.300" v="387"/>
          <ac:spMkLst>
            <pc:docMk/>
            <pc:sldMk cId="3651239714" sldId="498"/>
            <ac:spMk id="8" creationId="{771A56D4-B6D4-4DA1-91AC-66AC1C62120D}"/>
          </ac:spMkLst>
        </pc:spChg>
        <pc:spChg chg="mod">
          <ac:chgData name="Torre, Antonio" userId="94e42298-7d1f-4e8a-aacf-f74dae48defd" providerId="ADAL" clId="{3526948C-0037-45B5-B5B4-76953ECAB1CF}" dt="2023-03-09T02:14:05.531" v="296" actId="20577"/>
          <ac:spMkLst>
            <pc:docMk/>
            <pc:sldMk cId="3651239714" sldId="498"/>
            <ac:spMk id="9" creationId="{92C4D6DD-881B-984A-9C92-27BA5BC27568}"/>
          </ac:spMkLst>
        </pc:spChg>
        <pc:picChg chg="add mod">
          <ac:chgData name="Torre, Antonio" userId="94e42298-7d1f-4e8a-aacf-f74dae48defd" providerId="ADAL" clId="{3526948C-0037-45B5-B5B4-76953ECAB1CF}" dt="2023-03-09T02:21:55.369" v="370" actId="1076"/>
          <ac:picMkLst>
            <pc:docMk/>
            <pc:sldMk cId="3651239714" sldId="498"/>
            <ac:picMk id="4" creationId="{6E938138-AFB5-47AB-A5CE-44101F5F1D1F}"/>
          </ac:picMkLst>
        </pc:picChg>
      </pc:sldChg>
      <pc:sldChg chg="add del">
        <pc:chgData name="Torre, Antonio" userId="94e42298-7d1f-4e8a-aacf-f74dae48defd" providerId="ADAL" clId="{3526948C-0037-45B5-B5B4-76953ECAB1CF}" dt="2023-03-09T02:14:13.142" v="298"/>
        <pc:sldMkLst>
          <pc:docMk/>
          <pc:sldMk cId="1006697958" sldId="499"/>
        </pc:sldMkLst>
      </pc:sldChg>
      <pc:sldChg chg="addSp delSp modSp add">
        <pc:chgData name="Torre, Antonio" userId="94e42298-7d1f-4e8a-aacf-f74dae48defd" providerId="ADAL" clId="{3526948C-0037-45B5-B5B4-76953ECAB1CF}" dt="2023-03-09T02:41:13.722" v="592" actId="1076"/>
        <pc:sldMkLst>
          <pc:docMk/>
          <pc:sldMk cId="2792021141" sldId="499"/>
        </pc:sldMkLst>
        <pc:spChg chg="mod">
          <ac:chgData name="Torre, Antonio" userId="94e42298-7d1f-4e8a-aacf-f74dae48defd" providerId="ADAL" clId="{3526948C-0037-45B5-B5B4-76953ECAB1CF}" dt="2023-03-09T02:41:13.722" v="592" actId="1076"/>
          <ac:spMkLst>
            <pc:docMk/>
            <pc:sldMk cId="2792021141" sldId="499"/>
            <ac:spMk id="5" creationId="{E0FEB50F-A95E-4652-BE1C-BEB983A1CE07}"/>
          </ac:spMkLst>
        </pc:spChg>
        <pc:spChg chg="del mod">
          <ac:chgData name="Torre, Antonio" userId="94e42298-7d1f-4e8a-aacf-f74dae48defd" providerId="ADAL" clId="{3526948C-0037-45B5-B5B4-76953ECAB1CF}" dt="2023-03-09T02:40:57.971" v="590"/>
          <ac:spMkLst>
            <pc:docMk/>
            <pc:sldMk cId="2792021141" sldId="499"/>
            <ac:spMk id="7" creationId="{6A7D13CA-B6D2-4576-ADED-B16D6625073F}"/>
          </ac:spMkLst>
        </pc:spChg>
        <pc:picChg chg="del">
          <ac:chgData name="Torre, Antonio" userId="94e42298-7d1f-4e8a-aacf-f74dae48defd" providerId="ADAL" clId="{3526948C-0037-45B5-B5B4-76953ECAB1CF}" dt="2023-03-09T02:32:42.862" v="405" actId="478"/>
          <ac:picMkLst>
            <pc:docMk/>
            <pc:sldMk cId="2792021141" sldId="499"/>
            <ac:picMk id="4" creationId="{6E938138-AFB5-47AB-A5CE-44101F5F1D1F}"/>
          </ac:picMkLst>
        </pc:picChg>
        <pc:picChg chg="add mod">
          <ac:chgData name="Torre, Antonio" userId="94e42298-7d1f-4e8a-aacf-f74dae48defd" providerId="ADAL" clId="{3526948C-0037-45B5-B5B4-76953ECAB1CF}" dt="2023-03-09T02:41:09.154" v="591" actId="1076"/>
          <ac:picMkLst>
            <pc:docMk/>
            <pc:sldMk cId="2792021141" sldId="499"/>
            <ac:picMk id="8" creationId="{D18C3FC4-0F43-4189-BA02-D69DCDF18046}"/>
          </ac:picMkLst>
        </pc:picChg>
      </pc:sldChg>
      <pc:sldChg chg="modSp add ord">
        <pc:chgData name="Torre, Antonio" userId="94e42298-7d1f-4e8a-aacf-f74dae48defd" providerId="ADAL" clId="{3526948C-0037-45B5-B5B4-76953ECAB1CF}" dt="2023-03-09T03:52:52.179" v="1313" actId="20577"/>
        <pc:sldMkLst>
          <pc:docMk/>
          <pc:sldMk cId="1678112167" sldId="500"/>
        </pc:sldMkLst>
        <pc:spChg chg="mod">
          <ac:chgData name="Torre, Antonio" userId="94e42298-7d1f-4e8a-aacf-f74dae48defd" providerId="ADAL" clId="{3526948C-0037-45B5-B5B4-76953ECAB1CF}" dt="2023-03-09T03:52:19.899" v="1311" actId="20577"/>
          <ac:spMkLst>
            <pc:docMk/>
            <pc:sldMk cId="1678112167" sldId="500"/>
            <ac:spMk id="3" creationId="{00000000-0000-0000-0000-000000000000}"/>
          </ac:spMkLst>
        </pc:spChg>
        <pc:spChg chg="mod">
          <ac:chgData name="Torre, Antonio" userId="94e42298-7d1f-4e8a-aacf-f74dae48defd" providerId="ADAL" clId="{3526948C-0037-45B5-B5B4-76953ECAB1CF}" dt="2023-03-09T03:52:52.179" v="1313" actId="20577"/>
          <ac:spMkLst>
            <pc:docMk/>
            <pc:sldMk cId="1678112167" sldId="500"/>
            <ac:spMk id="4" creationId="{00000000-0000-0000-0000-000000000000}"/>
          </ac:spMkLst>
        </pc:spChg>
      </pc:sldChg>
      <pc:sldChg chg="addSp delSp modSp add ord">
        <pc:chgData name="Torre, Antonio" userId="94e42298-7d1f-4e8a-aacf-f74dae48defd" providerId="ADAL" clId="{3526948C-0037-45B5-B5B4-76953ECAB1CF}" dt="2023-03-09T04:02:47.634" v="1586" actId="14100"/>
        <pc:sldMkLst>
          <pc:docMk/>
          <pc:sldMk cId="69737687" sldId="501"/>
        </pc:sldMkLst>
        <pc:spChg chg="mod">
          <ac:chgData name="Torre, Antonio" userId="94e42298-7d1f-4e8a-aacf-f74dae48defd" providerId="ADAL" clId="{3526948C-0037-45B5-B5B4-76953ECAB1CF}" dt="2023-03-09T04:02:10.434" v="1581" actId="403"/>
          <ac:spMkLst>
            <pc:docMk/>
            <pc:sldMk cId="69737687" sldId="501"/>
            <ac:spMk id="4" creationId="{00000000-0000-0000-0000-000000000000}"/>
          </ac:spMkLst>
        </pc:spChg>
        <pc:spChg chg="add del">
          <ac:chgData name="Torre, Antonio" userId="94e42298-7d1f-4e8a-aacf-f74dae48defd" providerId="ADAL" clId="{3526948C-0037-45B5-B5B4-76953ECAB1CF}" dt="2023-03-09T04:01:31.642" v="1573"/>
          <ac:spMkLst>
            <pc:docMk/>
            <pc:sldMk cId="69737687" sldId="501"/>
            <ac:spMk id="7" creationId="{BFB21512-820C-4EBC-A231-65B3DCE89279}"/>
          </ac:spMkLst>
        </pc:spChg>
        <pc:spChg chg="mod">
          <ac:chgData name="Torre, Antonio" userId="94e42298-7d1f-4e8a-aacf-f74dae48defd" providerId="ADAL" clId="{3526948C-0037-45B5-B5B4-76953ECAB1CF}" dt="2023-03-09T04:00:11.047" v="1569" actId="20577"/>
          <ac:spMkLst>
            <pc:docMk/>
            <pc:sldMk cId="69737687" sldId="501"/>
            <ac:spMk id="9" creationId="{92C4D6DD-881B-984A-9C92-27BA5BC27568}"/>
          </ac:spMkLst>
        </pc:spChg>
        <pc:spChg chg="add del">
          <ac:chgData name="Torre, Antonio" userId="94e42298-7d1f-4e8a-aacf-f74dae48defd" providerId="ADAL" clId="{3526948C-0037-45B5-B5B4-76953ECAB1CF}" dt="2023-03-09T04:01:31.642" v="1573"/>
          <ac:spMkLst>
            <pc:docMk/>
            <pc:sldMk cId="69737687" sldId="501"/>
            <ac:spMk id="10" creationId="{410DE4E1-1459-4327-9DAB-C7F518451EC9}"/>
          </ac:spMkLst>
        </pc:spChg>
        <pc:spChg chg="add del">
          <ac:chgData name="Torre, Antonio" userId="94e42298-7d1f-4e8a-aacf-f74dae48defd" providerId="ADAL" clId="{3526948C-0037-45B5-B5B4-76953ECAB1CF}" dt="2023-03-09T04:01:36.751" v="1575"/>
          <ac:spMkLst>
            <pc:docMk/>
            <pc:sldMk cId="69737687" sldId="501"/>
            <ac:spMk id="11" creationId="{288EA2A3-0600-4811-B69D-EDDF3FFDDC59}"/>
          </ac:spMkLst>
        </pc:spChg>
        <pc:spChg chg="add del">
          <ac:chgData name="Torre, Antonio" userId="94e42298-7d1f-4e8a-aacf-f74dae48defd" providerId="ADAL" clId="{3526948C-0037-45B5-B5B4-76953ECAB1CF}" dt="2023-03-09T04:01:36.751" v="1575"/>
          <ac:spMkLst>
            <pc:docMk/>
            <pc:sldMk cId="69737687" sldId="501"/>
            <ac:spMk id="13" creationId="{622F66B6-06E3-4DC5-88AA-A675E5903AC5}"/>
          </ac:spMkLst>
        </pc:spChg>
        <pc:spChg chg="add mod">
          <ac:chgData name="Torre, Antonio" userId="94e42298-7d1f-4e8a-aacf-f74dae48defd" providerId="ADAL" clId="{3526948C-0037-45B5-B5B4-76953ECAB1CF}" dt="2023-03-09T04:02:47.634" v="1586" actId="14100"/>
          <ac:spMkLst>
            <pc:docMk/>
            <pc:sldMk cId="69737687" sldId="501"/>
            <ac:spMk id="15" creationId="{D46D797E-341E-4A9E-91B0-04AA87D93BC0}"/>
          </ac:spMkLst>
        </pc:spChg>
        <pc:picChg chg="add del">
          <ac:chgData name="Torre, Antonio" userId="94e42298-7d1f-4e8a-aacf-f74dae48defd" providerId="ADAL" clId="{3526948C-0037-45B5-B5B4-76953ECAB1CF}" dt="2023-03-09T04:01:31.642" v="1573"/>
          <ac:picMkLst>
            <pc:docMk/>
            <pc:sldMk cId="69737687" sldId="501"/>
            <ac:picMk id="8" creationId="{FFE78C74-9FFD-4911-90C8-986D16FD78E3}"/>
          </ac:picMkLst>
        </pc:picChg>
        <pc:picChg chg="add del">
          <ac:chgData name="Torre, Antonio" userId="94e42298-7d1f-4e8a-aacf-f74dae48defd" providerId="ADAL" clId="{3526948C-0037-45B5-B5B4-76953ECAB1CF}" dt="2023-03-09T04:01:36.751" v="1575"/>
          <ac:picMkLst>
            <pc:docMk/>
            <pc:sldMk cId="69737687" sldId="501"/>
            <ac:picMk id="12" creationId="{1E466CD1-85B9-4809-ADD8-DEF5C02FB7B7}"/>
          </ac:picMkLst>
        </pc:picChg>
        <pc:picChg chg="add mod">
          <ac:chgData name="Torre, Antonio" userId="94e42298-7d1f-4e8a-aacf-f74dae48defd" providerId="ADAL" clId="{3526948C-0037-45B5-B5B4-76953ECAB1CF}" dt="2023-03-09T04:02:15.782" v="1583" actId="1076"/>
          <ac:picMkLst>
            <pc:docMk/>
            <pc:sldMk cId="69737687" sldId="501"/>
            <ac:picMk id="14" creationId="{10016EBF-C1DA-48B7-8447-7CB710F59331}"/>
          </ac:picMkLst>
        </pc:picChg>
      </pc:sldChg>
      <pc:sldChg chg="addSp delSp modSp add">
        <pc:chgData name="Torre, Antonio" userId="94e42298-7d1f-4e8a-aacf-f74dae48defd" providerId="ADAL" clId="{3526948C-0037-45B5-B5B4-76953ECAB1CF}" dt="2023-03-09T04:25:52.084" v="1653" actId="113"/>
        <pc:sldMkLst>
          <pc:docMk/>
          <pc:sldMk cId="4182911869" sldId="502"/>
        </pc:sldMkLst>
        <pc:spChg chg="add del mod">
          <ac:chgData name="Torre, Antonio" userId="94e42298-7d1f-4e8a-aacf-f74dae48defd" providerId="ADAL" clId="{3526948C-0037-45B5-B5B4-76953ECAB1CF}" dt="2023-03-09T04:15:48.114" v="1593" actId="47"/>
          <ac:spMkLst>
            <pc:docMk/>
            <pc:sldMk cId="4182911869" sldId="502"/>
            <ac:spMk id="4" creationId="{00000000-0000-0000-0000-000000000000}"/>
          </ac:spMkLst>
        </pc:spChg>
        <pc:spChg chg="add del">
          <ac:chgData name="Torre, Antonio" userId="94e42298-7d1f-4e8a-aacf-f74dae48defd" providerId="ADAL" clId="{3526948C-0037-45B5-B5B4-76953ECAB1CF}" dt="2023-03-09T04:15:46.950" v="1592"/>
          <ac:spMkLst>
            <pc:docMk/>
            <pc:sldMk cId="4182911869" sldId="502"/>
            <ac:spMk id="5" creationId="{0C2AE392-F160-4BE8-A628-512BFB3E37EC}"/>
          </ac:spMkLst>
        </pc:spChg>
        <pc:spChg chg="add mod">
          <ac:chgData name="Torre, Antonio" userId="94e42298-7d1f-4e8a-aacf-f74dae48defd" providerId="ADAL" clId="{3526948C-0037-45B5-B5B4-76953ECAB1CF}" dt="2023-03-09T04:25:52.084" v="1653" actId="113"/>
          <ac:spMkLst>
            <pc:docMk/>
            <pc:sldMk cId="4182911869" sldId="502"/>
            <ac:spMk id="7" creationId="{EE2534D9-A583-4F75-AE45-D08186258376}"/>
          </ac:spMkLst>
        </pc:spChg>
        <pc:spChg chg="add del">
          <ac:chgData name="Torre, Antonio" userId="94e42298-7d1f-4e8a-aacf-f74dae48defd" providerId="ADAL" clId="{3526948C-0037-45B5-B5B4-76953ECAB1CF}" dt="2023-03-09T04:21:36.282" v="1632"/>
          <ac:spMkLst>
            <pc:docMk/>
            <pc:sldMk cId="4182911869" sldId="502"/>
            <ac:spMk id="8" creationId="{B4AA97AF-3840-4002-9B47-BDED8ADF4BCA}"/>
          </ac:spMkLst>
        </pc:spChg>
        <pc:spChg chg="mod">
          <ac:chgData name="Torre, Antonio" userId="94e42298-7d1f-4e8a-aacf-f74dae48defd" providerId="ADAL" clId="{3526948C-0037-45B5-B5B4-76953ECAB1CF}" dt="2023-03-09T04:16:11.683" v="1608" actId="20577"/>
          <ac:spMkLst>
            <pc:docMk/>
            <pc:sldMk cId="4182911869" sldId="502"/>
            <ac:spMk id="9" creationId="{92C4D6DD-881B-984A-9C92-27BA5BC27568}"/>
          </ac:spMkLst>
        </pc:spChg>
        <pc:spChg chg="add del mod">
          <ac:chgData name="Torre, Antonio" userId="94e42298-7d1f-4e8a-aacf-f74dae48defd" providerId="ADAL" clId="{3526948C-0037-45B5-B5B4-76953ECAB1CF}" dt="2023-03-09T04:22:57.955" v="1640"/>
          <ac:spMkLst>
            <pc:docMk/>
            <pc:sldMk cId="4182911869" sldId="502"/>
            <ac:spMk id="10" creationId="{63910093-374A-4485-98D8-45535DF21A3F}"/>
          </ac:spMkLst>
        </pc:spChg>
        <pc:spChg chg="add mod">
          <ac:chgData name="Torre, Antonio" userId="94e42298-7d1f-4e8a-aacf-f74dae48defd" providerId="ADAL" clId="{3526948C-0037-45B5-B5B4-76953ECAB1CF}" dt="2023-03-09T04:24:12.192" v="1652" actId="1076"/>
          <ac:spMkLst>
            <pc:docMk/>
            <pc:sldMk cId="4182911869" sldId="502"/>
            <ac:spMk id="11" creationId="{E2A67407-0B27-4371-9C0F-5D6FFBC5BFF3}"/>
          </ac:spMkLst>
        </pc:spChg>
        <pc:spChg chg="del">
          <ac:chgData name="Torre, Antonio" userId="94e42298-7d1f-4e8a-aacf-f74dae48defd" providerId="ADAL" clId="{3526948C-0037-45B5-B5B4-76953ECAB1CF}" dt="2023-03-09T04:16:41.353" v="1615" actId="478"/>
          <ac:spMkLst>
            <pc:docMk/>
            <pc:sldMk cId="4182911869" sldId="502"/>
            <ac:spMk id="15" creationId="{D46D797E-341E-4A9E-91B0-04AA87D93BC0}"/>
          </ac:spMkLst>
        </pc:spChg>
        <pc:picChg chg="del">
          <ac:chgData name="Torre, Antonio" userId="94e42298-7d1f-4e8a-aacf-f74dae48defd" providerId="ADAL" clId="{3526948C-0037-45B5-B5B4-76953ECAB1CF}" dt="2023-03-09T04:16:41.353" v="1615" actId="478"/>
          <ac:picMkLst>
            <pc:docMk/>
            <pc:sldMk cId="4182911869" sldId="502"/>
            <ac:picMk id="14" creationId="{10016EBF-C1DA-48B7-8447-7CB710F59331}"/>
          </ac:picMkLst>
        </pc:picChg>
      </pc:sldChg>
      <pc:sldChg chg="add del">
        <pc:chgData name="Torre, Antonio" userId="94e42298-7d1f-4e8a-aacf-f74dae48defd" providerId="ADAL" clId="{3526948C-0037-45B5-B5B4-76953ECAB1CF}" dt="2023-03-09T04:30:06.546" v="1655"/>
        <pc:sldMkLst>
          <pc:docMk/>
          <pc:sldMk cId="3148649582" sldId="503"/>
        </pc:sldMkLst>
      </pc:sldChg>
      <pc:sldChg chg="addSp delSp modSp add">
        <pc:chgData name="Torre, Antonio" userId="94e42298-7d1f-4e8a-aacf-f74dae48defd" providerId="ADAL" clId="{3526948C-0037-45B5-B5B4-76953ECAB1CF}" dt="2023-03-09T04:44:41.473" v="1731" actId="5793"/>
        <pc:sldMkLst>
          <pc:docMk/>
          <pc:sldMk cId="4144677485" sldId="503"/>
        </pc:sldMkLst>
        <pc:spChg chg="add mod">
          <ac:chgData name="Torre, Antonio" userId="94e42298-7d1f-4e8a-aacf-f74dae48defd" providerId="ADAL" clId="{3526948C-0037-45B5-B5B4-76953ECAB1CF}" dt="2023-03-09T04:42:34.707" v="1690" actId="1076"/>
          <ac:spMkLst>
            <pc:docMk/>
            <pc:sldMk cId="4144677485" sldId="503"/>
            <ac:spMk id="5" creationId="{E1027529-6946-47F5-BD1F-982C0561594A}"/>
          </ac:spMkLst>
        </pc:spChg>
        <pc:spChg chg="add del mod">
          <ac:chgData name="Torre, Antonio" userId="94e42298-7d1f-4e8a-aacf-f74dae48defd" providerId="ADAL" clId="{3526948C-0037-45B5-B5B4-76953ECAB1CF}" dt="2023-03-09T04:40:36.306" v="1685" actId="1076"/>
          <ac:spMkLst>
            <pc:docMk/>
            <pc:sldMk cId="4144677485" sldId="503"/>
            <ac:spMk id="7" creationId="{EE2534D9-A583-4F75-AE45-D08186258376}"/>
          </ac:spMkLst>
        </pc:spChg>
        <pc:spChg chg="mod">
          <ac:chgData name="Torre, Antonio" userId="94e42298-7d1f-4e8a-aacf-f74dae48defd" providerId="ADAL" clId="{3526948C-0037-45B5-B5B4-76953ECAB1CF}" dt="2023-03-09T04:38:56.668" v="1666" actId="20577"/>
          <ac:spMkLst>
            <pc:docMk/>
            <pc:sldMk cId="4144677485" sldId="503"/>
            <ac:spMk id="9" creationId="{92C4D6DD-881B-984A-9C92-27BA5BC27568}"/>
          </ac:spMkLst>
        </pc:spChg>
        <pc:spChg chg="add mod">
          <ac:chgData name="Torre, Antonio" userId="94e42298-7d1f-4e8a-aacf-f74dae48defd" providerId="ADAL" clId="{3526948C-0037-45B5-B5B4-76953ECAB1CF}" dt="2023-03-09T04:44:41.473" v="1731" actId="5793"/>
          <ac:spMkLst>
            <pc:docMk/>
            <pc:sldMk cId="4144677485" sldId="503"/>
            <ac:spMk id="10" creationId="{49A62903-5E2B-4FCB-BE2F-35FC7C793524}"/>
          </ac:spMkLst>
        </pc:spChg>
        <pc:spChg chg="del">
          <ac:chgData name="Torre, Antonio" userId="94e42298-7d1f-4e8a-aacf-f74dae48defd" providerId="ADAL" clId="{3526948C-0037-45B5-B5B4-76953ECAB1CF}" dt="2023-03-09T04:40:01.850" v="1679" actId="478"/>
          <ac:spMkLst>
            <pc:docMk/>
            <pc:sldMk cId="4144677485" sldId="503"/>
            <ac:spMk id="11" creationId="{E2A67407-0B27-4371-9C0F-5D6FFBC5BFF3}"/>
          </ac:spMkLst>
        </pc:spChg>
        <pc:picChg chg="add mod">
          <ac:chgData name="Torre, Antonio" userId="94e42298-7d1f-4e8a-aacf-f74dae48defd" providerId="ADAL" clId="{3526948C-0037-45B5-B5B4-76953ECAB1CF}" dt="2023-03-09T04:43:10.459" v="1693" actId="1076"/>
          <ac:picMkLst>
            <pc:docMk/>
            <pc:sldMk cId="4144677485" sldId="503"/>
            <ac:picMk id="8" creationId="{7A33669C-D913-4F71-A181-C69A219A22A7}"/>
          </ac:picMkLst>
        </pc:picChg>
        <pc:picChg chg="add mod">
          <ac:chgData name="Torre, Antonio" userId="94e42298-7d1f-4e8a-aacf-f74dae48defd" providerId="ADAL" clId="{3526948C-0037-45B5-B5B4-76953ECAB1CF}" dt="2023-03-09T04:42:30.115" v="1689" actId="1076"/>
          <ac:picMkLst>
            <pc:docMk/>
            <pc:sldMk cId="4144677485" sldId="503"/>
            <ac:picMk id="16386" creationId="{A2BD4605-88C7-4B44-ACA9-FA0E0BEBABBA}"/>
          </ac:picMkLst>
        </pc:picChg>
      </pc:sldChg>
      <pc:sldChg chg="add del">
        <pc:chgData name="Torre, Antonio" userId="94e42298-7d1f-4e8a-aacf-f74dae48defd" providerId="ADAL" clId="{3526948C-0037-45B5-B5B4-76953ECAB1CF}" dt="2023-03-09T04:39:03.316" v="1668"/>
        <pc:sldMkLst>
          <pc:docMk/>
          <pc:sldMk cId="3461703166" sldId="504"/>
        </pc:sldMkLst>
      </pc:sldChg>
    </pc:docChg>
  </pc:docChgLst>
  <pc:docChgLst>
    <pc:chgData name="Torre, Antonio" userId="94e42298-7d1f-4e8a-aacf-f74dae48defd" providerId="ADAL" clId="{BEF29875-8C3A-4D87-A605-9D08EE139313}"/>
    <pc:docChg chg="undo custSel modSld">
      <pc:chgData name="Torre, Antonio" userId="94e42298-7d1f-4e8a-aacf-f74dae48defd" providerId="ADAL" clId="{BEF29875-8C3A-4D87-A605-9D08EE139313}" dt="2023-11-08T17:32:02.889" v="193" actId="1076"/>
      <pc:docMkLst>
        <pc:docMk/>
      </pc:docMkLst>
      <pc:sldChg chg="modSp mod">
        <pc:chgData name="Torre, Antonio" userId="94e42298-7d1f-4e8a-aacf-f74dae48defd" providerId="ADAL" clId="{BEF29875-8C3A-4D87-A605-9D08EE139313}" dt="2023-11-08T14:02:30.419" v="102" actId="20577"/>
        <pc:sldMkLst>
          <pc:docMk/>
          <pc:sldMk cId="69737687" sldId="501"/>
        </pc:sldMkLst>
        <pc:spChg chg="mod">
          <ac:chgData name="Torre, Antonio" userId="94e42298-7d1f-4e8a-aacf-f74dae48defd" providerId="ADAL" clId="{BEF29875-8C3A-4D87-A605-9D08EE139313}" dt="2023-11-08T14:02:30.419" v="102" actId="20577"/>
          <ac:spMkLst>
            <pc:docMk/>
            <pc:sldMk cId="69737687" sldId="501"/>
            <ac:spMk id="4" creationId="{00000000-0000-0000-0000-000000000000}"/>
          </ac:spMkLst>
        </pc:spChg>
        <pc:picChg chg="mod">
          <ac:chgData name="Torre, Antonio" userId="94e42298-7d1f-4e8a-aacf-f74dae48defd" providerId="ADAL" clId="{BEF29875-8C3A-4D87-A605-9D08EE139313}" dt="2023-11-08T14:02:06.846" v="93" actId="1076"/>
          <ac:picMkLst>
            <pc:docMk/>
            <pc:sldMk cId="69737687" sldId="501"/>
            <ac:picMk id="14" creationId="{10016EBF-C1DA-48B7-8447-7CB710F59331}"/>
          </ac:picMkLst>
        </pc:picChg>
      </pc:sldChg>
      <pc:sldChg chg="addSp modSp mod">
        <pc:chgData name="Torre, Antonio" userId="94e42298-7d1f-4e8a-aacf-f74dae48defd" providerId="ADAL" clId="{BEF29875-8C3A-4D87-A605-9D08EE139313}" dt="2023-11-08T17:32:02.889" v="193" actId="1076"/>
        <pc:sldMkLst>
          <pc:docMk/>
          <pc:sldMk cId="4182911869" sldId="502"/>
        </pc:sldMkLst>
        <pc:spChg chg="add mod">
          <ac:chgData name="Torre, Antonio" userId="94e42298-7d1f-4e8a-aacf-f74dae48defd" providerId="ADAL" clId="{BEF29875-8C3A-4D87-A605-9D08EE139313}" dt="2023-11-08T17:32:02.889" v="193" actId="1076"/>
          <ac:spMkLst>
            <pc:docMk/>
            <pc:sldMk cId="4182911869" sldId="502"/>
            <ac:spMk id="5" creationId="{299E97A2-7923-FC75-7CBC-E125DB93CE7D}"/>
          </ac:spMkLst>
        </pc:spChg>
        <pc:spChg chg="mod">
          <ac:chgData name="Torre, Antonio" userId="94e42298-7d1f-4e8a-aacf-f74dae48defd" providerId="ADAL" clId="{BEF29875-8C3A-4D87-A605-9D08EE139313}" dt="2023-11-08T17:31:52.661" v="191"/>
          <ac:spMkLst>
            <pc:docMk/>
            <pc:sldMk cId="4182911869" sldId="502"/>
            <ac:spMk id="11" creationId="{E2A67407-0B27-4371-9C0F-5D6FFBC5BFF3}"/>
          </ac:spMkLst>
        </pc:spChg>
      </pc:sldChg>
      <pc:sldChg chg="modSp mod">
        <pc:chgData name="Torre, Antonio" userId="94e42298-7d1f-4e8a-aacf-f74dae48defd" providerId="ADAL" clId="{BEF29875-8C3A-4D87-A605-9D08EE139313}" dt="2023-11-08T14:34:52.699" v="189" actId="20577"/>
        <pc:sldMkLst>
          <pc:docMk/>
          <pc:sldMk cId="4144677485" sldId="503"/>
        </pc:sldMkLst>
        <pc:spChg chg="mod">
          <ac:chgData name="Torre, Antonio" userId="94e42298-7d1f-4e8a-aacf-f74dae48defd" providerId="ADAL" clId="{BEF29875-8C3A-4D87-A605-9D08EE139313}" dt="2023-11-08T14:34:52.699" v="189" actId="20577"/>
          <ac:spMkLst>
            <pc:docMk/>
            <pc:sldMk cId="4144677485" sldId="503"/>
            <ac:spMk id="7" creationId="{EE2534D9-A583-4F75-AE45-D08186258376}"/>
          </ac:spMkLst>
        </pc:spChg>
        <pc:picChg chg="mod">
          <ac:chgData name="Torre, Antonio" userId="94e42298-7d1f-4e8a-aacf-f74dae48defd" providerId="ADAL" clId="{BEF29875-8C3A-4D87-A605-9D08EE139313}" dt="2023-11-08T14:34:01.897" v="171" actId="1076"/>
          <ac:picMkLst>
            <pc:docMk/>
            <pc:sldMk cId="4144677485" sldId="503"/>
            <ac:picMk id="16386" creationId="{A2BD4605-88C7-4B44-ACA9-FA0E0BEBABBA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61BA05-E34A-4D10-88EE-E837AF583867}" type="datetimeFigureOut">
              <a:rPr lang="it-IT" smtClean="0"/>
              <a:t>22/05/2024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FEA5EB-3F2C-47A0-BCED-8EF86FF065C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14500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422CF8A-01FB-4318-8BCB-7EF8D129FC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232FF260-CC92-47EF-BA6C-2EB0014E64B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78DB5E66-ECB0-4D04-8F4B-477A42AFD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151050-9A6A-4131-A351-DCDDEA8D5017}" type="datetimeFigureOut">
              <a:rPr lang="it-IT" smtClean="0"/>
              <a:t>22/05/2024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E0FA512C-1BBC-4D33-8263-C283ED5D62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7FB0A0D1-FFD0-4ABD-8596-1D57430398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57D045-7207-467E-B4AB-C741D3FD982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797996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06CE238-CF8D-4CC2-8764-FB80AF09FE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22840520-2990-4181-9448-1FA90A59E09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3E59F25B-8576-4761-9508-50C72D7702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151050-9A6A-4131-A351-DCDDEA8D5017}" type="datetimeFigureOut">
              <a:rPr lang="it-IT" smtClean="0"/>
              <a:t>22/05/2024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2947359E-31C7-4ECE-B995-413E0D1FF8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711D1FB-CFE1-4561-B3A8-D7CCE1421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57D045-7207-467E-B4AB-C741D3FD982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982048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6201F9BC-41C2-42FF-B6F8-A16EDEBC97A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BA4B2194-951E-44D1-B205-0067C13179D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35718A91-2C5D-4E91-8ADF-3DEC8CB92B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151050-9A6A-4131-A351-DCDDEA8D5017}" type="datetimeFigureOut">
              <a:rPr lang="it-IT" smtClean="0"/>
              <a:t>22/05/2024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26DF4126-FFF4-41FE-9876-6CF95ED679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E7AA85B7-2C1B-4F6D-9EEC-2F1C251F4F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57D045-7207-467E-B4AB-C741D3FD982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866523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ranj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›</a:t>
            </a:fld>
            <a:endParaRPr lang="es-ES" sz="1066" dirty="0">
              <a:solidFill>
                <a:schemeClr val="bg1"/>
              </a:solidFill>
            </a:endParaRP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6" y="6381328"/>
            <a:ext cx="1074901" cy="248392"/>
          </a:xfrm>
          <a:prstGeom prst="rect">
            <a:avLst/>
          </a:prstGeom>
        </p:spPr>
      </p:pic>
      <p:pic>
        <p:nvPicPr>
          <p:cNvPr id="17" name="Imagen 16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6423596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12383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. Portada 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36004" y="4414944"/>
            <a:ext cx="5651500" cy="2904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2" y="2428697"/>
            <a:ext cx="6310745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400"/>
            </a:lvl1pPr>
          </a:lstStyle>
          <a:p>
            <a:r>
              <a:rPr lang="es-ES" dirty="0"/>
              <a:t>Haga clic para </a:t>
            </a:r>
            <a:br>
              <a:rPr lang="es-ES" dirty="0"/>
            </a:br>
            <a:r>
              <a:rPr lang="es-ES" dirty="0"/>
              <a:t>el título principal</a:t>
            </a:r>
            <a:endParaRPr lang="en-US" dirty="0"/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36004" y="4853097"/>
            <a:ext cx="5651500" cy="1994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6000" y="986371"/>
            <a:ext cx="1799167" cy="63923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3"/>
            </a:lvl1pPr>
          </a:lstStyle>
          <a:p>
            <a:r>
              <a:rPr lang="es-ES" dirty="0"/>
              <a:t>Logo cliente</a:t>
            </a:r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72D46510-3BCB-3746-AD05-84A58DE8C86D}"/>
              </a:ext>
            </a:extLst>
          </p:cNvPr>
          <p:cNvGrpSpPr/>
          <p:nvPr userDrawn="1"/>
        </p:nvGrpSpPr>
        <p:grpSpPr>
          <a:xfrm>
            <a:off x="6846376" y="1346032"/>
            <a:ext cx="2093250" cy="3698006"/>
            <a:chOff x="4700634" y="1022350"/>
            <a:chExt cx="1569938" cy="2774950"/>
          </a:xfrm>
          <a:solidFill>
            <a:schemeClr val="accent2"/>
          </a:solidFill>
        </p:grpSpPr>
        <p:sp>
          <p:nvSpPr>
            <p:cNvPr id="12" name="Rectángulo 6">
              <a:extLst>
                <a:ext uri="{FF2B5EF4-FFF2-40B4-BE49-F238E27FC236}">
                  <a16:creationId xmlns:a16="http://schemas.microsoft.com/office/drawing/2014/main" id="{7B3603A7-D7F6-D447-AC7E-DCEDD18B5644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13" name="Rectángulo 12">
              <a:extLst>
                <a:ext uri="{FF2B5EF4-FFF2-40B4-BE49-F238E27FC236}">
                  <a16:creationId xmlns:a16="http://schemas.microsoft.com/office/drawing/2014/main" id="{DEF7F3DA-3318-B54A-A86E-1C0912576A14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14" name="Rectángulo 13">
              <a:extLst>
                <a:ext uri="{FF2B5EF4-FFF2-40B4-BE49-F238E27FC236}">
                  <a16:creationId xmlns:a16="http://schemas.microsoft.com/office/drawing/2014/main" id="{AF95EF0D-64BD-8C41-9271-7C7E67BA1752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15" name="Rectángulo 14">
              <a:extLst>
                <a:ext uri="{FF2B5EF4-FFF2-40B4-BE49-F238E27FC236}">
                  <a16:creationId xmlns:a16="http://schemas.microsoft.com/office/drawing/2014/main" id="{7C54F4E3-09F1-DA4F-AC1E-D94DC533F11F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grpSp>
        <p:nvGrpSpPr>
          <p:cNvPr id="16" name="Grupo 15">
            <a:extLst>
              <a:ext uri="{FF2B5EF4-FFF2-40B4-BE49-F238E27FC236}">
                <a16:creationId xmlns:a16="http://schemas.microsoft.com/office/drawing/2014/main" id="{EB2B45F2-8D32-A344-93BE-979FC74FCFB7}"/>
              </a:ext>
            </a:extLst>
          </p:cNvPr>
          <p:cNvGrpSpPr/>
          <p:nvPr userDrawn="1"/>
        </p:nvGrpSpPr>
        <p:grpSpPr>
          <a:xfrm>
            <a:off x="8154785" y="1346032"/>
            <a:ext cx="2093250" cy="3698006"/>
            <a:chOff x="4700634" y="1022350"/>
            <a:chExt cx="1569938" cy="2774950"/>
          </a:xfrm>
          <a:solidFill>
            <a:schemeClr val="tx2"/>
          </a:solidFill>
        </p:grpSpPr>
        <p:sp>
          <p:nvSpPr>
            <p:cNvPr id="17" name="Rectángulo 6">
              <a:extLst>
                <a:ext uri="{FF2B5EF4-FFF2-40B4-BE49-F238E27FC236}">
                  <a16:creationId xmlns:a16="http://schemas.microsoft.com/office/drawing/2014/main" id="{B5C53D1D-2BE8-DC4D-9686-EE7D25277B36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18" name="Rectángulo 17">
              <a:extLst>
                <a:ext uri="{FF2B5EF4-FFF2-40B4-BE49-F238E27FC236}">
                  <a16:creationId xmlns:a16="http://schemas.microsoft.com/office/drawing/2014/main" id="{F900BB0B-5327-5945-98EC-D80CC934A2A3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19" name="Rectángulo 18">
              <a:extLst>
                <a:ext uri="{FF2B5EF4-FFF2-40B4-BE49-F238E27FC236}">
                  <a16:creationId xmlns:a16="http://schemas.microsoft.com/office/drawing/2014/main" id="{B1DD8B18-64B5-4948-BB66-287B0484AF59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20" name="Rectángulo 19">
              <a:extLst>
                <a:ext uri="{FF2B5EF4-FFF2-40B4-BE49-F238E27FC236}">
                  <a16:creationId xmlns:a16="http://schemas.microsoft.com/office/drawing/2014/main" id="{D12A53A6-630E-7B4D-A7A5-8AA797881B4E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grpSp>
        <p:nvGrpSpPr>
          <p:cNvPr id="21" name="Grupo 20">
            <a:extLst>
              <a:ext uri="{FF2B5EF4-FFF2-40B4-BE49-F238E27FC236}">
                <a16:creationId xmlns:a16="http://schemas.microsoft.com/office/drawing/2014/main" id="{C733D58C-D2A1-9040-B07D-82C6EAEF6E32}"/>
              </a:ext>
            </a:extLst>
          </p:cNvPr>
          <p:cNvGrpSpPr/>
          <p:nvPr userDrawn="1"/>
        </p:nvGrpSpPr>
        <p:grpSpPr>
          <a:xfrm>
            <a:off x="9463196" y="1346032"/>
            <a:ext cx="2093250" cy="3698006"/>
            <a:chOff x="4700634" y="1022350"/>
            <a:chExt cx="1569938" cy="2774950"/>
          </a:xfrm>
          <a:solidFill>
            <a:schemeClr val="accent5"/>
          </a:solidFill>
        </p:grpSpPr>
        <p:sp>
          <p:nvSpPr>
            <p:cNvPr id="22" name="Rectángulo 6">
              <a:extLst>
                <a:ext uri="{FF2B5EF4-FFF2-40B4-BE49-F238E27FC236}">
                  <a16:creationId xmlns:a16="http://schemas.microsoft.com/office/drawing/2014/main" id="{D71BC356-ED41-B049-88E2-47DC0FA3C96B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23" name="Rectángulo 22">
              <a:extLst>
                <a:ext uri="{FF2B5EF4-FFF2-40B4-BE49-F238E27FC236}">
                  <a16:creationId xmlns:a16="http://schemas.microsoft.com/office/drawing/2014/main" id="{4A4DF583-F789-A147-928A-81BDEA644EAF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24" name="Rectángulo 23">
              <a:extLst>
                <a:ext uri="{FF2B5EF4-FFF2-40B4-BE49-F238E27FC236}">
                  <a16:creationId xmlns:a16="http://schemas.microsoft.com/office/drawing/2014/main" id="{BD340412-0579-1344-9B6D-DEF4DEE4960D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25" name="Rectángulo 24">
              <a:extLst>
                <a:ext uri="{FF2B5EF4-FFF2-40B4-BE49-F238E27FC236}">
                  <a16:creationId xmlns:a16="http://schemas.microsoft.com/office/drawing/2014/main" id="{44E55E4B-0109-E64B-A511-0CD7799B8CF6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pic>
        <p:nvPicPr>
          <p:cNvPr id="30" name="Imagen 29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671" y="6048720"/>
            <a:ext cx="1822499" cy="399112"/>
          </a:xfrm>
          <a:prstGeom prst="rect">
            <a:avLst/>
          </a:prstGeom>
        </p:spPr>
      </p:pic>
      <p:pic>
        <p:nvPicPr>
          <p:cNvPr id="31" name="Imagen 3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5307" y="6092247"/>
            <a:ext cx="1562594" cy="361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3473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parata n1.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5" y="1592921"/>
            <a:ext cx="705260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1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›</a:t>
            </a:fld>
            <a:endParaRPr lang="es-ES" sz="1066" dirty="0">
              <a:solidFill>
                <a:schemeClr val="bg1"/>
              </a:solidFill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6" y="6381328"/>
            <a:ext cx="1074901" cy="248392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6423596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0008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EDACF78-37EF-4B38-8687-2489386C90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15E142E0-27E5-4B89-910F-DB299957EA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40B95B8A-A368-4650-AE62-34D136AE6F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151050-9A6A-4131-A351-DCDDEA8D5017}" type="datetimeFigureOut">
              <a:rPr lang="it-IT" smtClean="0"/>
              <a:t>22/05/2024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6CCB22D8-445A-494C-BDC5-95476E4C4F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87807996-0EDE-4E95-930D-9263266D15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57D045-7207-467E-B4AB-C741D3FD982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000347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5D2EC09-2113-4760-8CE1-62DA273D3C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AFBF8853-9E10-474D-A01F-4A5666CC30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683F298-DBA2-4045-A0C7-F7DAC0AB93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151050-9A6A-4131-A351-DCDDEA8D5017}" type="datetimeFigureOut">
              <a:rPr lang="it-IT" smtClean="0"/>
              <a:t>22/05/2024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37F2C3E1-A405-4B36-A343-9775020FFE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0FC982AF-DFF0-4996-81EC-40212A28EB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57D045-7207-467E-B4AB-C741D3FD982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361645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1A85369-DE55-4FEC-8A62-5391ECFBD0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D6EBAA1A-A303-49FD-9FE9-036BB135626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D6DEE906-5730-4F79-8AF7-0FA63F2D6C9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21559F01-C7D7-4CF9-9580-C26A3FD5C3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151050-9A6A-4131-A351-DCDDEA8D5017}" type="datetimeFigureOut">
              <a:rPr lang="it-IT" smtClean="0"/>
              <a:t>22/05/2024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5B3F6E2E-93A7-4F11-AEE5-4C3F530381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A151F8DE-BF4B-4A8A-B7C7-9B890DE11F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57D045-7207-467E-B4AB-C741D3FD982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503822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A7CDBEE-7F36-4F7B-9E26-28A368E04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2BBB32FD-6C1E-4696-9C98-35C9C60D32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C0B34926-70E3-43D8-9511-48AD0954AD8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7935E905-6E85-4BDE-841B-51A89B763B9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33FFDA24-EB8D-44CE-B45C-D7BD75E632A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9029B506-F521-4F16-9110-D7677F124A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151050-9A6A-4131-A351-DCDDEA8D5017}" type="datetimeFigureOut">
              <a:rPr lang="it-IT" smtClean="0"/>
              <a:t>22/05/2024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F9B6BB2D-3D0A-46A1-9845-1B24D258A6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3C99F0E1-6C89-4B18-A73B-5337893AC7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57D045-7207-467E-B4AB-C741D3FD982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772998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964DCCF-7171-4DDD-ABBB-AA0701285E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C7860E08-1628-493C-B66C-45FD59284E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151050-9A6A-4131-A351-DCDDEA8D5017}" type="datetimeFigureOut">
              <a:rPr lang="it-IT" smtClean="0"/>
              <a:t>22/05/2024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8A53FC56-8A5F-4C7A-A250-A6DCA1F655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457B4D3C-8CF5-4EA8-8BE7-E221441269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57D045-7207-467E-B4AB-C741D3FD982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483910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9DB68AB1-4830-40D8-90E0-93B380AE3C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151050-9A6A-4131-A351-DCDDEA8D5017}" type="datetimeFigureOut">
              <a:rPr lang="it-IT" smtClean="0"/>
              <a:t>22/05/2024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78B1B60B-E87A-4EC0-988A-B3F6884BF6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4D509D05-ECD0-48AC-91FC-245FC3647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57D045-7207-467E-B4AB-C741D3FD982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901404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7772BE8-9638-488A-9812-1A9453C57E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B7D44588-91C8-4ED7-BCA5-80C03B1386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2AC929EA-0EE0-4D36-A667-B620F9433D1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AC436512-FC66-4415-AE88-5C23AA75C3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151050-9A6A-4131-A351-DCDDEA8D5017}" type="datetimeFigureOut">
              <a:rPr lang="it-IT" smtClean="0"/>
              <a:t>22/05/2024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2C815E5E-7536-4889-B84E-5027356A16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11702812-9C26-4619-AB7A-89A6585C62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57D045-7207-467E-B4AB-C741D3FD982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939224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9A0764B-72EF-4894-8037-D989B7DFCA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82133A17-7818-4DEB-8FD6-4974240F872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619ACF2B-D637-4585-A27E-E1B6A1787C9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1675B051-B034-46F6-A1ED-08C4F828C1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151050-9A6A-4131-A351-DCDDEA8D5017}" type="datetimeFigureOut">
              <a:rPr lang="it-IT" smtClean="0"/>
              <a:t>22/05/2024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98AA8CEB-196B-48FE-81FA-E8678587EA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285A28D3-8E5E-45BC-9F5F-5F5B2B8BC1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57D045-7207-467E-B4AB-C741D3FD982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286123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8D908B39-5ADE-4604-BAC7-97BC8BC12B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F6530B19-A010-4785-9372-B6B5D28375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17873E28-41AA-4D1C-B18D-E2001099379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151050-9A6A-4131-A351-DCDDEA8D5017}" type="datetimeFigureOut">
              <a:rPr lang="it-IT" smtClean="0"/>
              <a:t>22/05/2024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3AB79006-7D58-4C1D-A77C-A696123468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3AE573-6DA7-4E93-A938-4F986C8B64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57D045-7207-467E-B4AB-C741D3FD982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43664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20.xml"/><Relationship Id="rId7" Type="http://schemas.openxmlformats.org/officeDocument/2006/relationships/image" Target="../media/image20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22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readme/guides/functional-programming-basics" TargetMode="External"/><Relationship Id="rId3" Type="http://schemas.openxmlformats.org/officeDocument/2006/relationships/tags" Target="../tags/tag24.xml"/><Relationship Id="rId7" Type="http://schemas.openxmlformats.org/officeDocument/2006/relationships/hyperlink" Target="https://rxjs.dev/" TargetMode="Externa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24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30.xml"/><Relationship Id="rId7" Type="http://schemas.openxmlformats.org/officeDocument/2006/relationships/hyperlink" Target="https://developer.mozilla.org/en-US/docs/Glossary/SPA" TargetMode="External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26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27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28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29.png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tags" Target="../tags/tag40.xml"/><Relationship Id="rId7" Type="http://schemas.openxmlformats.org/officeDocument/2006/relationships/image" Target="../media/image30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8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9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0.xml"/><Relationship Id="rId7" Type="http://schemas.openxmlformats.org/officeDocument/2006/relationships/image" Target="../media/image10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2.xml"/><Relationship Id="rId7" Type="http://schemas.openxmlformats.org/officeDocument/2006/relationships/image" Target="../media/image12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4.xml"/><Relationship Id="rId7" Type="http://schemas.openxmlformats.org/officeDocument/2006/relationships/image" Target="../media/image14.pn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16.xml"/><Relationship Id="rId7" Type="http://schemas.openxmlformats.org/officeDocument/2006/relationships/hyperlink" Target="https://developer.mozilla.org/en-US/docs/Web/JavaScript/Reference/Global_Objects/Promise" TargetMode="Externa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19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arcador de contenido 10">
            <a:extLst>
              <a:ext uri="{FF2B5EF4-FFF2-40B4-BE49-F238E27FC236}">
                <a16:creationId xmlns:a16="http://schemas.microsoft.com/office/drawing/2014/main" id="{CADB838D-94AC-C545-9C3D-3E09738A3753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s-ES" dirty="0"/>
              <a:t>Alessandro Schiavo</a:t>
            </a:r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7D0F4E9E-D4B3-B547-A9DC-4D8880C9F4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Observable, Promise e Routing</a:t>
            </a:r>
          </a:p>
        </p:txBody>
      </p:sp>
      <p:sp>
        <p:nvSpPr>
          <p:cNvPr id="8" name="Marcador de contenido 7"/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s-ES" dirty="0"/>
              <a:t>Giugno 2024</a:t>
            </a:r>
          </a:p>
        </p:txBody>
      </p:sp>
      <p:grpSp>
        <p:nvGrpSpPr>
          <p:cNvPr id="12" name="Grupo 11">
            <a:extLst>
              <a:ext uri="{FF2B5EF4-FFF2-40B4-BE49-F238E27FC236}">
                <a16:creationId xmlns:a16="http://schemas.microsoft.com/office/drawing/2014/main" id="{72D46510-3BCB-3746-AD05-84A58DE8C86D}"/>
              </a:ext>
            </a:extLst>
          </p:cNvPr>
          <p:cNvGrpSpPr/>
          <p:nvPr/>
        </p:nvGrpSpPr>
        <p:grpSpPr>
          <a:xfrm>
            <a:off x="6845985" y="1346032"/>
            <a:ext cx="2092160" cy="3698006"/>
            <a:chOff x="4700634" y="1022350"/>
            <a:chExt cx="1569938" cy="2774950"/>
          </a:xfrm>
          <a:solidFill>
            <a:schemeClr val="accent2"/>
          </a:solidFill>
        </p:grpSpPr>
        <p:sp>
          <p:nvSpPr>
            <p:cNvPr id="13" name="Rectángulo 6">
              <a:extLst>
                <a:ext uri="{FF2B5EF4-FFF2-40B4-BE49-F238E27FC236}">
                  <a16:creationId xmlns:a16="http://schemas.microsoft.com/office/drawing/2014/main" id="{7B3603A7-D7F6-D447-AC7E-DCEDD18B5644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14" name="Rectángulo 13">
              <a:extLst>
                <a:ext uri="{FF2B5EF4-FFF2-40B4-BE49-F238E27FC236}">
                  <a16:creationId xmlns:a16="http://schemas.microsoft.com/office/drawing/2014/main" id="{DEF7F3DA-3318-B54A-A86E-1C0912576A14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15" name="Rectángulo 14">
              <a:extLst>
                <a:ext uri="{FF2B5EF4-FFF2-40B4-BE49-F238E27FC236}">
                  <a16:creationId xmlns:a16="http://schemas.microsoft.com/office/drawing/2014/main" id="{AF95EF0D-64BD-8C41-9271-7C7E67BA1752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16" name="Rectángulo 15">
              <a:extLst>
                <a:ext uri="{FF2B5EF4-FFF2-40B4-BE49-F238E27FC236}">
                  <a16:creationId xmlns:a16="http://schemas.microsoft.com/office/drawing/2014/main" id="{7C54F4E3-09F1-DA4F-AC1E-D94DC533F11F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grpSp>
        <p:nvGrpSpPr>
          <p:cNvPr id="17" name="Grupo 16">
            <a:extLst>
              <a:ext uri="{FF2B5EF4-FFF2-40B4-BE49-F238E27FC236}">
                <a16:creationId xmlns:a16="http://schemas.microsoft.com/office/drawing/2014/main" id="{EB2B45F2-8D32-A344-93BE-979FC74FCFB7}"/>
              </a:ext>
            </a:extLst>
          </p:cNvPr>
          <p:cNvGrpSpPr/>
          <p:nvPr/>
        </p:nvGrpSpPr>
        <p:grpSpPr>
          <a:xfrm>
            <a:off x="8153713" y="1346032"/>
            <a:ext cx="2092160" cy="3698006"/>
            <a:chOff x="4700634" y="1022350"/>
            <a:chExt cx="1569938" cy="2774950"/>
          </a:xfrm>
          <a:solidFill>
            <a:schemeClr val="tx2"/>
          </a:solidFill>
        </p:grpSpPr>
        <p:sp>
          <p:nvSpPr>
            <p:cNvPr id="18" name="Rectángulo 6">
              <a:extLst>
                <a:ext uri="{FF2B5EF4-FFF2-40B4-BE49-F238E27FC236}">
                  <a16:creationId xmlns:a16="http://schemas.microsoft.com/office/drawing/2014/main" id="{B5C53D1D-2BE8-DC4D-9686-EE7D25277B36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19" name="Rectángulo 18">
              <a:extLst>
                <a:ext uri="{FF2B5EF4-FFF2-40B4-BE49-F238E27FC236}">
                  <a16:creationId xmlns:a16="http://schemas.microsoft.com/office/drawing/2014/main" id="{F900BB0B-5327-5945-98EC-D80CC934A2A3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20" name="Rectángulo 19">
              <a:extLst>
                <a:ext uri="{FF2B5EF4-FFF2-40B4-BE49-F238E27FC236}">
                  <a16:creationId xmlns:a16="http://schemas.microsoft.com/office/drawing/2014/main" id="{B1DD8B18-64B5-4948-BB66-287B0484AF59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D12A53A6-630E-7B4D-A7A5-8AA797881B4E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grpSp>
        <p:nvGrpSpPr>
          <p:cNvPr id="22" name="Grupo 21">
            <a:extLst>
              <a:ext uri="{FF2B5EF4-FFF2-40B4-BE49-F238E27FC236}">
                <a16:creationId xmlns:a16="http://schemas.microsoft.com/office/drawing/2014/main" id="{C733D58C-D2A1-9040-B07D-82C6EAEF6E32}"/>
              </a:ext>
            </a:extLst>
          </p:cNvPr>
          <p:cNvGrpSpPr/>
          <p:nvPr/>
        </p:nvGrpSpPr>
        <p:grpSpPr>
          <a:xfrm>
            <a:off x="9461442" y="1346032"/>
            <a:ext cx="2092160" cy="3698006"/>
            <a:chOff x="4700634" y="1022350"/>
            <a:chExt cx="1569938" cy="2774950"/>
          </a:xfrm>
          <a:solidFill>
            <a:schemeClr val="accent5"/>
          </a:solidFill>
        </p:grpSpPr>
        <p:sp>
          <p:nvSpPr>
            <p:cNvPr id="23" name="Rectángulo 6">
              <a:extLst>
                <a:ext uri="{FF2B5EF4-FFF2-40B4-BE49-F238E27FC236}">
                  <a16:creationId xmlns:a16="http://schemas.microsoft.com/office/drawing/2014/main" id="{D71BC356-ED41-B049-88E2-47DC0FA3C96B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24" name="Rectángulo 23">
              <a:extLst>
                <a:ext uri="{FF2B5EF4-FFF2-40B4-BE49-F238E27FC236}">
                  <a16:creationId xmlns:a16="http://schemas.microsoft.com/office/drawing/2014/main" id="{4A4DF583-F789-A147-928A-81BDEA644EAF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25" name="Rectángulo 24">
              <a:extLst>
                <a:ext uri="{FF2B5EF4-FFF2-40B4-BE49-F238E27FC236}">
                  <a16:creationId xmlns:a16="http://schemas.microsoft.com/office/drawing/2014/main" id="{BD340412-0579-1344-9B6D-DEF4DEE4960D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26" name="Rectángulo 25">
              <a:extLst>
                <a:ext uri="{FF2B5EF4-FFF2-40B4-BE49-F238E27FC236}">
                  <a16:creationId xmlns:a16="http://schemas.microsoft.com/office/drawing/2014/main" id="{44E55E4B-0109-E64B-A511-0CD7799B8CF6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pic>
        <p:nvPicPr>
          <p:cNvPr id="203782" name="Picture 6" descr="Minsait - An Indra Company Recruiting Day | Luis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384" y="504742"/>
            <a:ext cx="1656184" cy="1656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84282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5291" y="3902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3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91" y="3902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3"/>
            </p:custDataLst>
          </p:nvPr>
        </p:nvSpPr>
        <p:spPr>
          <a:xfrm>
            <a:off x="3175" y="1786"/>
            <a:ext cx="211556" cy="2115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198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649095"/>
            <a:ext cx="11519451" cy="403641"/>
          </a:xfrm>
        </p:spPr>
        <p:txBody>
          <a:bodyPr/>
          <a:lstStyle/>
          <a:p>
            <a:pPr algn="ctr"/>
            <a:r>
              <a:rPr lang="it-IT" b="1" dirty="0"/>
              <a:t>Asincronismo: Observable</a:t>
            </a:r>
          </a:p>
        </p:txBody>
      </p:sp>
      <p:sp>
        <p:nvSpPr>
          <p:cNvPr id="6" name="Marcador de texto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ES" dirty="0"/>
              <a:t>Intro</a:t>
            </a:r>
          </a:p>
        </p:txBody>
      </p:sp>
      <p:sp>
        <p:nvSpPr>
          <p:cNvPr id="4" name="Rettangolo 3"/>
          <p:cNvSpPr/>
          <p:nvPr/>
        </p:nvSpPr>
        <p:spPr>
          <a:xfrm>
            <a:off x="801359" y="1299734"/>
            <a:ext cx="10588731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/>
            <a:r>
              <a:rPr lang="it-IT" dirty="0">
                <a:cs typeface="Soho Gothic Pro" panose="020B0503030504020204" pitchFamily="34" charset="0"/>
              </a:rPr>
              <a:t>Gli Observable sono concetti chiave del </a:t>
            </a:r>
            <a:r>
              <a:rPr lang="it-IT" u="sng" dirty="0">
                <a:cs typeface="Soho Gothic Pro" panose="020B0503030504020204" pitchFamily="34" charset="0"/>
              </a:rPr>
              <a:t>reactive programming</a:t>
            </a:r>
            <a:r>
              <a:rPr lang="it-IT" dirty="0">
                <a:cs typeface="Soho Gothic Pro" panose="020B0503030504020204" pitchFamily="34" charset="0"/>
              </a:rPr>
              <a:t>, utile a manipolare flussi di dati asincroni. </a:t>
            </a:r>
          </a:p>
          <a:p>
            <a:pPr algn="just" fontAlgn="base"/>
            <a:r>
              <a:rPr lang="it-IT" dirty="0">
                <a:cs typeface="Soho Gothic Pro" panose="020B0503030504020204" pitchFamily="34" charset="0"/>
              </a:rPr>
              <a:t>Mentre una Promise può restituire al massimo un valore, gli observable sono configurabili per emettere più di un valore nel tempo.</a:t>
            </a:r>
          </a:p>
          <a:p>
            <a:pPr algn="just" fontAlgn="base"/>
            <a:r>
              <a:rPr lang="it-IT" dirty="0">
                <a:cs typeface="Soho Gothic Pro" panose="020B0503030504020204" pitchFamily="34" charset="0"/>
              </a:rPr>
              <a:t>Dunque, i componenti principali sono:</a:t>
            </a:r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it-IT" b="1" dirty="0">
                <a:cs typeface="Soho Gothic Pro" panose="020B0503030504020204" pitchFamily="34" charset="0"/>
              </a:rPr>
              <a:t>Produttore</a:t>
            </a:r>
            <a:r>
              <a:rPr lang="it-IT" dirty="0">
                <a:cs typeface="Soho Gothic Pro" panose="020B0503030504020204" pitchFamily="34" charset="0"/>
              </a:rPr>
              <a:t>: l’agente che emette i valori</a:t>
            </a:r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it-IT" b="1" dirty="0">
                <a:cs typeface="Soho Gothic Pro" panose="020B0503030504020204" pitchFamily="34" charset="0"/>
              </a:rPr>
              <a:t>Observable</a:t>
            </a:r>
            <a:r>
              <a:rPr lang="it-IT" dirty="0">
                <a:cs typeface="Soho Gothic Pro" panose="020B0503030504020204" pitchFamily="34" charset="0"/>
              </a:rPr>
              <a:t>: l’oggetto che rappresenta la sequenza di valori</a:t>
            </a:r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it-IT" b="1" dirty="0">
                <a:cs typeface="Soho Gothic Pro" panose="020B0503030504020204" pitchFamily="34" charset="0"/>
              </a:rPr>
              <a:t>Sottoscrittore/i</a:t>
            </a:r>
            <a:r>
              <a:rPr lang="it-IT" dirty="0">
                <a:cs typeface="Soho Gothic Pro" panose="020B0503030504020204" pitchFamily="34" charset="0"/>
              </a:rPr>
              <a:t>: entità che reagisce ai valori emessi</a:t>
            </a: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D983E55A-6365-40E4-994E-87B0EF41721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03948" y="3578057"/>
            <a:ext cx="4062400" cy="2360061"/>
          </a:xfrm>
          <a:prstGeom prst="rect">
            <a:avLst/>
          </a:prstGeom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B702778C-39D3-4630-A435-1065C5E8A9A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16361" y="3578057"/>
            <a:ext cx="4057649" cy="2360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01300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5291" y="3902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6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91" y="3902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3"/>
            </p:custDataLst>
          </p:nvPr>
        </p:nvSpPr>
        <p:spPr>
          <a:xfrm>
            <a:off x="3175" y="1786"/>
            <a:ext cx="211556" cy="2115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198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649095"/>
            <a:ext cx="11519451" cy="403641"/>
          </a:xfrm>
        </p:spPr>
        <p:txBody>
          <a:bodyPr/>
          <a:lstStyle/>
          <a:p>
            <a:pPr algn="ctr"/>
            <a:r>
              <a:rPr lang="it-IT" b="1" dirty="0"/>
              <a:t>Asincronismo: Observable</a:t>
            </a:r>
          </a:p>
        </p:txBody>
      </p:sp>
      <p:sp>
        <p:nvSpPr>
          <p:cNvPr id="6" name="Marcador de texto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ES" dirty="0"/>
              <a:t>Intro</a:t>
            </a:r>
          </a:p>
        </p:txBody>
      </p:sp>
      <p:sp>
        <p:nvSpPr>
          <p:cNvPr id="4" name="Rettangolo 3"/>
          <p:cNvSpPr/>
          <p:nvPr/>
        </p:nvSpPr>
        <p:spPr>
          <a:xfrm>
            <a:off x="849486" y="2413336"/>
            <a:ext cx="5479125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/>
            <a:r>
              <a:rPr lang="it-IT" dirty="0">
                <a:cs typeface="Soho Gothic Pro" panose="020B0503030504020204" pitchFamily="34" charset="0"/>
              </a:rPr>
              <a:t>I concetti chiave dell’utilizzo di un Observable sono:</a:t>
            </a:r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it-IT" b="1" dirty="0">
                <a:cs typeface="Soho Gothic Pro" panose="020B0503030504020204" pitchFamily="34" charset="0"/>
              </a:rPr>
              <a:t>creazione</a:t>
            </a:r>
            <a:r>
              <a:rPr lang="it-IT" dirty="0">
                <a:cs typeface="Soho Gothic Pro" panose="020B0503030504020204" pitchFamily="34" charset="0"/>
              </a:rPr>
              <a:t>: istanziazione dell’oggetto e definizione della sorgente dati</a:t>
            </a:r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it-IT" b="1" dirty="0">
                <a:cs typeface="Soho Gothic Pro" panose="020B0503030504020204" pitchFamily="34" charset="0"/>
              </a:rPr>
              <a:t>sottoscrizione</a:t>
            </a:r>
            <a:r>
              <a:rPr lang="it-IT" dirty="0">
                <a:cs typeface="Soho Gothic Pro" panose="020B0503030504020204" pitchFamily="34" charset="0"/>
              </a:rPr>
              <a:t>: con </a:t>
            </a:r>
            <a:r>
              <a:rPr lang="it-IT" b="1" dirty="0">
                <a:cs typeface="Soho Gothic Pro" panose="020B0503030504020204" pitchFamily="34" charset="0"/>
              </a:rPr>
              <a:t>.subscribe()</a:t>
            </a:r>
            <a:endParaRPr lang="it-IT" dirty="0">
              <a:cs typeface="Soho Gothic Pro" panose="020B0503030504020204" pitchFamily="34" charset="0"/>
            </a:endParaRPr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it-IT" b="1" dirty="0">
                <a:cs typeface="Soho Gothic Pro" panose="020B0503030504020204" pitchFamily="34" charset="0"/>
              </a:rPr>
              <a:t>esecuzione</a:t>
            </a:r>
            <a:r>
              <a:rPr lang="it-IT" dirty="0">
                <a:cs typeface="Soho Gothic Pro" panose="020B0503030504020204" pitchFamily="34" charset="0"/>
              </a:rPr>
              <a:t>: il codice definito in </a:t>
            </a:r>
            <a:r>
              <a:rPr lang="it-IT" b="1" dirty="0">
                <a:cs typeface="Soho Gothic Pro" panose="020B0503030504020204" pitchFamily="34" charset="0"/>
              </a:rPr>
              <a:t>.subscribe()</a:t>
            </a:r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it-IT" b="1" dirty="0">
                <a:cs typeface="Soho Gothic Pro" panose="020B0503030504020204" pitchFamily="34" charset="0"/>
              </a:rPr>
              <a:t>dispose</a:t>
            </a:r>
            <a:r>
              <a:rPr lang="it-IT" dirty="0">
                <a:cs typeface="Soho Gothic Pro" panose="020B0503030504020204" pitchFamily="34" charset="0"/>
              </a:rPr>
              <a:t>: terminata la lettura di tutti i dati o dei dati necessari, si richiama </a:t>
            </a:r>
            <a:r>
              <a:rPr lang="it-IT" b="1" dirty="0">
                <a:cs typeface="Soho Gothic Pro" panose="020B0503030504020204" pitchFamily="34" charset="0"/>
              </a:rPr>
              <a:t>.unsubscribe()</a:t>
            </a: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5AB96350-F15E-4708-B17B-CFE328F4944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52083" y="2101654"/>
            <a:ext cx="3823547" cy="265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54155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5291" y="3902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1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91" y="3902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3"/>
            </p:custDataLst>
          </p:nvPr>
        </p:nvSpPr>
        <p:spPr>
          <a:xfrm>
            <a:off x="3175" y="1786"/>
            <a:ext cx="211556" cy="2115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198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649095"/>
            <a:ext cx="11519451" cy="403641"/>
          </a:xfrm>
        </p:spPr>
        <p:txBody>
          <a:bodyPr/>
          <a:lstStyle/>
          <a:p>
            <a:pPr algn="ctr"/>
            <a:r>
              <a:rPr lang="it-IT" b="1" dirty="0"/>
              <a:t>Asincronismo: Observable (pipeable operators)</a:t>
            </a:r>
          </a:p>
        </p:txBody>
      </p:sp>
      <p:sp>
        <p:nvSpPr>
          <p:cNvPr id="6" name="Marcador de texto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ES" dirty="0"/>
              <a:t>Intro</a:t>
            </a:r>
          </a:p>
        </p:txBody>
      </p:sp>
      <p:sp>
        <p:nvSpPr>
          <p:cNvPr id="4" name="Rettangolo 3"/>
          <p:cNvSpPr/>
          <p:nvPr/>
        </p:nvSpPr>
        <p:spPr>
          <a:xfrm>
            <a:off x="476507" y="1395442"/>
            <a:ext cx="5479125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/>
            <a:r>
              <a:rPr lang="it-IT" dirty="0">
                <a:cs typeface="Soho Gothic Pro" panose="020B0503030504020204" pitchFamily="34" charset="0"/>
              </a:rPr>
              <a:t>Per manipolare i dati emessi nel tempo, nella libreria </a:t>
            </a:r>
            <a:r>
              <a:rPr lang="it-IT" dirty="0">
                <a:cs typeface="Soho Gothic Pro" panose="020B0503030504020204" pitchFamily="34" charset="0"/>
                <a:hlinkClick r:id="rId7"/>
              </a:rPr>
              <a:t>RxJS</a:t>
            </a:r>
            <a:r>
              <a:rPr lang="it-IT" dirty="0">
                <a:cs typeface="Soho Gothic Pro" panose="020B0503030504020204" pitchFamily="34" charset="0"/>
              </a:rPr>
              <a:t> sono presenti metodi che ne semplificano la gestione e che implicitamente rispecchiano i concetti cardine della </a:t>
            </a:r>
            <a:r>
              <a:rPr lang="it-IT" dirty="0">
                <a:cs typeface="Soho Gothic Pro" panose="020B0503030504020204" pitchFamily="34" charset="0"/>
                <a:hlinkClick r:id="rId8"/>
              </a:rPr>
              <a:t>programmazione funzionale</a:t>
            </a:r>
            <a:r>
              <a:rPr lang="it-IT" dirty="0">
                <a:cs typeface="Soho Gothic Pro" panose="020B0503030504020204" pitchFamily="34" charset="0"/>
              </a:rPr>
              <a:t>:</a:t>
            </a:r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it-IT" b="1" dirty="0">
                <a:cs typeface="Soho Gothic Pro" panose="020B0503030504020204" pitchFamily="34" charset="0"/>
              </a:rPr>
              <a:t>map</a:t>
            </a:r>
            <a:r>
              <a:rPr lang="it-IT" dirty="0">
                <a:cs typeface="Soho Gothic Pro" panose="020B0503030504020204" pitchFamily="34" charset="0"/>
              </a:rPr>
              <a:t>: trasforma ogni valore emesso</a:t>
            </a:r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it-IT" b="1" dirty="0">
                <a:cs typeface="Soho Gothic Pro" panose="020B0503030504020204" pitchFamily="34" charset="0"/>
              </a:rPr>
              <a:t>filter</a:t>
            </a:r>
            <a:r>
              <a:rPr lang="it-IT" dirty="0">
                <a:cs typeface="Soho Gothic Pro" panose="020B0503030504020204" pitchFamily="34" charset="0"/>
              </a:rPr>
              <a:t>: filtra i valori emessi</a:t>
            </a:r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it-IT" b="1" dirty="0">
                <a:cs typeface="Soho Gothic Pro" panose="020B0503030504020204" pitchFamily="34" charset="0"/>
              </a:rPr>
              <a:t>mergeMap</a:t>
            </a:r>
            <a:r>
              <a:rPr lang="it-IT" dirty="0">
                <a:cs typeface="Soho Gothic Pro" panose="020B0503030504020204" pitchFamily="34" charset="0"/>
              </a:rPr>
              <a:t>: combina più observable in una singola pipeline di dati</a:t>
            </a:r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it-IT" b="1" dirty="0">
                <a:cs typeface="Soho Gothic Pro" panose="020B0503030504020204" pitchFamily="34" charset="0"/>
              </a:rPr>
              <a:t>of</a:t>
            </a:r>
            <a:r>
              <a:rPr lang="it-IT" dirty="0">
                <a:cs typeface="Soho Gothic Pro" panose="020B0503030504020204" pitchFamily="34" charset="0"/>
              </a:rPr>
              <a:t>: crea un observable a partire dalla sorgente di dati (es. un array)</a:t>
            </a:r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it-IT" b="1" dirty="0">
                <a:cs typeface="Soho Gothic Pro" panose="020B0503030504020204" pitchFamily="34" charset="0"/>
              </a:rPr>
              <a:t>observable.pipe</a:t>
            </a:r>
            <a:r>
              <a:rPr lang="it-IT" dirty="0">
                <a:cs typeface="Soho Gothic Pro" panose="020B0503030504020204" pitchFamily="34" charset="0"/>
              </a:rPr>
              <a:t>: concatena uno o più operatori per manipolare il flusso di dati</a:t>
            </a:r>
          </a:p>
          <a:p>
            <a:pPr algn="just" fontAlgn="base"/>
            <a:r>
              <a:rPr lang="it-IT" dirty="0">
                <a:cs typeface="Soho Gothic Pro" panose="020B0503030504020204" pitchFamily="34" charset="0"/>
              </a:rPr>
              <a:t>Questi ed altri metodi sono chiamati pipeable operators, poiché sono metodi che accettano in input un Observable e ne restituiscono un altro (</a:t>
            </a:r>
            <a:r>
              <a:rPr lang="it-IT" u="sng" dirty="0">
                <a:cs typeface="Soho Gothic Pro" panose="020B0503030504020204" pitchFamily="34" charset="0"/>
              </a:rPr>
              <a:t>non modificando il primo</a:t>
            </a:r>
            <a:r>
              <a:rPr lang="it-IT" dirty="0">
                <a:cs typeface="Soho Gothic Pro" panose="020B0503030504020204" pitchFamily="34" charset="0"/>
              </a:rPr>
              <a:t>)</a:t>
            </a: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9EBE15E6-DE3E-4EE4-A223-9AD26DDBCB3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253616" y="1179301"/>
            <a:ext cx="4339825" cy="2478298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E79D3985-2ADE-46D9-BF32-5832440D3A6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212932" y="3633469"/>
            <a:ext cx="4380509" cy="2598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56420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5291" y="3902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3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91" y="3902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3"/>
            </p:custDataLst>
          </p:nvPr>
        </p:nvSpPr>
        <p:spPr>
          <a:xfrm>
            <a:off x="3175" y="1786"/>
            <a:ext cx="211556" cy="2115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198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649095"/>
            <a:ext cx="11519451" cy="403641"/>
          </a:xfrm>
        </p:spPr>
        <p:txBody>
          <a:bodyPr/>
          <a:lstStyle/>
          <a:p>
            <a:pPr algn="ctr"/>
            <a:r>
              <a:rPr lang="it-IT" b="1" dirty="0"/>
              <a:t>Asincronismo: Observable vs Promise</a:t>
            </a:r>
          </a:p>
        </p:txBody>
      </p:sp>
      <p:sp>
        <p:nvSpPr>
          <p:cNvPr id="6" name="Marcador de texto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ES" dirty="0"/>
              <a:t>Intro</a:t>
            </a:r>
          </a:p>
        </p:txBody>
      </p:sp>
      <p:graphicFrame>
        <p:nvGraphicFramePr>
          <p:cNvPr id="8" name="Tabella 7">
            <a:extLst>
              <a:ext uri="{FF2B5EF4-FFF2-40B4-BE49-F238E27FC236}">
                <a16:creationId xmlns:a16="http://schemas.microsoft.com/office/drawing/2014/main" id="{7D79DA47-8503-4816-B932-706C37D392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3361330"/>
              </p:ext>
            </p:extLst>
          </p:nvPr>
        </p:nvGraphicFramePr>
        <p:xfrm>
          <a:off x="2816450" y="1285434"/>
          <a:ext cx="6558549" cy="4287131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589505">
                  <a:extLst>
                    <a:ext uri="{9D8B030D-6E8A-4147-A177-3AD203B41FA5}">
                      <a16:colId xmlns:a16="http://schemas.microsoft.com/office/drawing/2014/main" val="2604788829"/>
                    </a:ext>
                  </a:extLst>
                </a:gridCol>
                <a:gridCol w="2448427">
                  <a:extLst>
                    <a:ext uri="{9D8B030D-6E8A-4147-A177-3AD203B41FA5}">
                      <a16:colId xmlns:a16="http://schemas.microsoft.com/office/drawing/2014/main" val="3844564212"/>
                    </a:ext>
                  </a:extLst>
                </a:gridCol>
                <a:gridCol w="2520617">
                  <a:extLst>
                    <a:ext uri="{9D8B030D-6E8A-4147-A177-3AD203B41FA5}">
                      <a16:colId xmlns:a16="http://schemas.microsoft.com/office/drawing/2014/main" val="2555312410"/>
                    </a:ext>
                  </a:extLst>
                </a:gridCol>
              </a:tblGrid>
              <a:tr h="363177">
                <a:tc>
                  <a:txBody>
                    <a:bodyPr/>
                    <a:lstStyle/>
                    <a:p>
                      <a:pPr algn="ctr"/>
                      <a:endParaRPr lang="it-IT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dirty="0"/>
                        <a:t>Promi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dirty="0"/>
                        <a:t>Observab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1424728"/>
                  </a:ext>
                </a:extLst>
              </a:tr>
              <a:tr h="605617">
                <a:tc>
                  <a:txBody>
                    <a:bodyPr/>
                    <a:lstStyle/>
                    <a:p>
                      <a:r>
                        <a:rPr lang="it-IT" sz="1600" dirty="0"/>
                        <a:t>Valori emess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600" dirty="0"/>
                        <a:t>Un singolo valore/err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600" dirty="0"/>
                        <a:t>Emette una sequenza di valor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6696663"/>
                  </a:ext>
                </a:extLst>
              </a:tr>
              <a:tr h="605617">
                <a:tc>
                  <a:txBody>
                    <a:bodyPr/>
                    <a:lstStyle/>
                    <a:p>
                      <a:r>
                        <a:rPr lang="it-IT" sz="1600" dirty="0"/>
                        <a:t>Stat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600" dirty="0"/>
                        <a:t>Una volta conclusa con successo o con errore termi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600" dirty="0"/>
                        <a:t>Emette valori fin quando non completat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97155144"/>
                  </a:ext>
                </a:extLst>
              </a:tr>
              <a:tr h="605617">
                <a:tc>
                  <a:txBody>
                    <a:bodyPr/>
                    <a:lstStyle/>
                    <a:p>
                      <a:r>
                        <a:rPr lang="it-IT" sz="1600" dirty="0"/>
                        <a:t>Esecuzi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600" b="1" dirty="0"/>
                        <a:t>Eager</a:t>
                      </a:r>
                      <a:r>
                        <a:rPr lang="it-IT" sz="1600" dirty="0"/>
                        <a:t>: l’esecuzione del codice asincrono inizia quando viene crea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600" b="1" dirty="0"/>
                        <a:t>Lazy</a:t>
                      </a:r>
                      <a:r>
                        <a:rPr lang="it-IT" sz="1600" dirty="0"/>
                        <a:t>: non fa nulla fin quando non viene richiamato un .subscribe(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8406856"/>
                  </a:ext>
                </a:extLst>
              </a:tr>
              <a:tr h="605617">
                <a:tc>
                  <a:txBody>
                    <a:bodyPr/>
                    <a:lstStyle/>
                    <a:p>
                      <a:r>
                        <a:rPr lang="it-IT" sz="1600" dirty="0"/>
                        <a:t>Manipolazi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600" dirty="0"/>
                        <a:t>Con then e cat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600" dirty="0"/>
                        <a:t>Pipeable operators di RxJ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03488998"/>
                  </a:ext>
                </a:extLst>
              </a:tr>
              <a:tr h="605617">
                <a:tc>
                  <a:txBody>
                    <a:bodyPr/>
                    <a:lstStyle/>
                    <a:p>
                      <a:r>
                        <a:rPr lang="it-IT" sz="1600" dirty="0"/>
                        <a:t>Sottoscrizioni multip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600" dirty="0"/>
                        <a:t>Ogni listener riceve lo stesso val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600" dirty="0"/>
                        <a:t>Se di tipo </a:t>
                      </a:r>
                      <a:r>
                        <a:rPr lang="it-IT" sz="1600" b="1" dirty="0"/>
                        <a:t>cold</a:t>
                      </a:r>
                      <a:r>
                        <a:rPr lang="it-IT" sz="1600" dirty="0"/>
                        <a:t> ogni sottoscrizione riavvia il flusso, altrimenti tutti condividono i dati emess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45223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915665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5291" y="3902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0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91" y="3902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3"/>
            </p:custDataLst>
          </p:nvPr>
        </p:nvSpPr>
        <p:spPr>
          <a:xfrm>
            <a:off x="3175" y="1786"/>
            <a:ext cx="211556" cy="2115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4264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Routing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quarter" idx="1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s-ES" dirty="0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231093557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5291" y="3902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6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91" y="3902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3"/>
            </p:custDataLst>
          </p:nvPr>
        </p:nvSpPr>
        <p:spPr>
          <a:xfrm>
            <a:off x="3175" y="1786"/>
            <a:ext cx="211556" cy="2115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198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649095"/>
            <a:ext cx="11519451" cy="403641"/>
          </a:xfrm>
        </p:spPr>
        <p:txBody>
          <a:bodyPr/>
          <a:lstStyle/>
          <a:p>
            <a:pPr algn="ctr"/>
            <a:r>
              <a:rPr lang="it-IT" b="1" dirty="0"/>
              <a:t>Routing: main concepts</a:t>
            </a:r>
          </a:p>
        </p:txBody>
      </p:sp>
      <p:sp>
        <p:nvSpPr>
          <p:cNvPr id="6" name="Marcador de texto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ES" dirty="0"/>
              <a:t>Intro</a:t>
            </a:r>
          </a:p>
        </p:txBody>
      </p:sp>
      <p:sp>
        <p:nvSpPr>
          <p:cNvPr id="4" name="Rettangolo 3"/>
          <p:cNvSpPr/>
          <p:nvPr/>
        </p:nvSpPr>
        <p:spPr>
          <a:xfrm>
            <a:off x="516686" y="1520770"/>
            <a:ext cx="6634956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/>
            <a:r>
              <a:rPr lang="it-IT" dirty="0">
                <a:cs typeface="Soho Gothic Pro" panose="020B0503030504020204" pitchFamily="34" charset="0"/>
              </a:rPr>
              <a:t>Le Web Application devono catturare diversi tipologie di richieste HTTP, come: mostrare la homepage, mostrare una lista di dati, login, logout,…</a:t>
            </a:r>
          </a:p>
          <a:p>
            <a:pPr algn="just" fontAlgn="base"/>
            <a:r>
              <a:rPr lang="it-IT" dirty="0">
                <a:cs typeface="Soho Gothic Pro" panose="020B0503030504020204" pitchFamily="34" charset="0"/>
              </a:rPr>
              <a:t>Alcuni framework come Angular utilizzano il concetto di </a:t>
            </a:r>
            <a:r>
              <a:rPr lang="it-IT" u="sng" dirty="0">
                <a:cs typeface="Soho Gothic Pro" panose="020B0503030504020204" pitchFamily="34" charset="0"/>
                <a:hlinkClick r:id="rId7"/>
              </a:rPr>
              <a:t>Single Page Application</a:t>
            </a:r>
            <a:r>
              <a:rPr lang="it-IT" dirty="0">
                <a:cs typeface="Soho Gothic Pro" panose="020B0503030504020204" pitchFamily="34" charset="0"/>
              </a:rPr>
              <a:t> (SPA): la Web App carica un singolo documento HTML per volta ed il relativo contenuto è caricato con chiamate HTTP.</a:t>
            </a:r>
          </a:p>
          <a:p>
            <a:pPr algn="just" fontAlgn="base"/>
            <a:endParaRPr lang="it-IT" dirty="0">
              <a:cs typeface="Soho Gothic Pro" panose="020B0503030504020204" pitchFamily="34" charset="0"/>
            </a:endParaRPr>
          </a:p>
          <a:p>
            <a:pPr algn="just" fontAlgn="base"/>
            <a:r>
              <a:rPr lang="it-IT" b="1" i="1" dirty="0">
                <a:cs typeface="Soho Gothic Pro" panose="020B0503030504020204" pitchFamily="34" charset="0"/>
              </a:rPr>
              <a:t>Data quindi una request, come reagisce la Web App ?</a:t>
            </a:r>
          </a:p>
          <a:p>
            <a:pPr algn="just" fontAlgn="base"/>
            <a:r>
              <a:rPr lang="it-IT" dirty="0">
                <a:cs typeface="Soho Gothic Pro" panose="020B0503030504020204" pitchFamily="34" charset="0"/>
              </a:rPr>
              <a:t>I componenti coinvolti nel routing sono:</a:t>
            </a:r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it-IT" b="1" dirty="0">
                <a:cs typeface="Soho Gothic Pro" panose="020B0503030504020204" pitchFamily="34" charset="0"/>
              </a:rPr>
              <a:t>endpoint</a:t>
            </a:r>
            <a:r>
              <a:rPr lang="it-IT" dirty="0">
                <a:cs typeface="Soho Gothic Pro" panose="020B0503030504020204" pitchFamily="34" charset="0"/>
              </a:rPr>
              <a:t>: indirizzi per i quali la Web App è in ascolto</a:t>
            </a:r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it-IT" b="1" dirty="0">
                <a:cs typeface="Soho Gothic Pro" panose="020B0503030504020204" pitchFamily="34" charset="0"/>
              </a:rPr>
              <a:t>Router</a:t>
            </a:r>
            <a:r>
              <a:rPr lang="it-IT" dirty="0">
                <a:cs typeface="Soho Gothic Pro" panose="020B0503030504020204" pitchFamily="34" charset="0"/>
              </a:rPr>
              <a:t>: il meccanismo che esamina gli endpoint e decide il comportamento</a:t>
            </a:r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it-IT" b="1" dirty="0">
                <a:cs typeface="Soho Gothic Pro" panose="020B0503030504020204" pitchFamily="34" charset="0"/>
              </a:rPr>
              <a:t>Routes</a:t>
            </a:r>
            <a:r>
              <a:rPr lang="it-IT" dirty="0">
                <a:cs typeface="Soho Gothic Pro" panose="020B0503030504020204" pitchFamily="34" charset="0"/>
              </a:rPr>
              <a:t>: definiscono  le associazioni tra le URL e i componenti/porzione di codice</a:t>
            </a:r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it-IT" b="1" dirty="0">
                <a:cs typeface="Soho Gothic Pro" panose="020B0503030504020204" pitchFamily="34" charset="0"/>
              </a:rPr>
              <a:t>Componenti web</a:t>
            </a:r>
            <a:r>
              <a:rPr lang="it-IT" dirty="0">
                <a:cs typeface="Soho Gothic Pro" panose="020B0503030504020204" pitchFamily="34" charset="0"/>
              </a:rPr>
              <a:t>: il contenuto che viene mostrato</a:t>
            </a: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A97BC4A1-9C28-43C6-978C-7F21BDEDF69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3665" y="1093311"/>
            <a:ext cx="4131786" cy="4271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35986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5291" y="3902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0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91" y="3902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3"/>
            </p:custDataLst>
          </p:nvPr>
        </p:nvSpPr>
        <p:spPr>
          <a:xfrm>
            <a:off x="3175" y="1786"/>
            <a:ext cx="211556" cy="2115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198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649095"/>
            <a:ext cx="11519451" cy="403641"/>
          </a:xfrm>
        </p:spPr>
        <p:txBody>
          <a:bodyPr/>
          <a:lstStyle/>
          <a:p>
            <a:pPr algn="ctr"/>
            <a:r>
              <a:rPr lang="it-IT" b="1" dirty="0"/>
              <a:t>Routing: Angular</a:t>
            </a:r>
          </a:p>
        </p:txBody>
      </p:sp>
      <p:sp>
        <p:nvSpPr>
          <p:cNvPr id="6" name="Marcador de texto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ES" dirty="0"/>
              <a:t>Intro</a:t>
            </a:r>
          </a:p>
        </p:txBody>
      </p:sp>
      <p:sp>
        <p:nvSpPr>
          <p:cNvPr id="4" name="Rettangolo 3"/>
          <p:cNvSpPr/>
          <p:nvPr/>
        </p:nvSpPr>
        <p:spPr>
          <a:xfrm>
            <a:off x="498638" y="1130592"/>
            <a:ext cx="6634956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/>
            <a:r>
              <a:rPr lang="it-IT" dirty="0">
                <a:cs typeface="Soho Gothic Pro" panose="020B0503030504020204" pitchFamily="34" charset="0"/>
              </a:rPr>
              <a:t>In Angular un Router è un modulo che ha come unico scopo quello di specificare i metodi per accedere a diverse rotte.</a:t>
            </a:r>
          </a:p>
          <a:p>
            <a:pPr algn="just" fontAlgn="base"/>
            <a:r>
              <a:rPr lang="it-IT" dirty="0">
                <a:cs typeface="Soho Gothic Pro" panose="020B0503030504020204" pitchFamily="34" charset="0"/>
              </a:rPr>
              <a:t>Il main router è definito solitamente nel file </a:t>
            </a:r>
            <a:r>
              <a:rPr lang="it-IT" b="1" dirty="0">
                <a:cs typeface="Soho Gothic Pro" panose="020B0503030504020204" pitchFamily="34" charset="0"/>
              </a:rPr>
              <a:t>app-routing.module.ts</a:t>
            </a:r>
            <a:r>
              <a:rPr lang="it-IT" dirty="0">
                <a:cs typeface="Soho Gothic Pro" panose="020B0503030504020204" pitchFamily="34" charset="0"/>
              </a:rPr>
              <a:t>, che può spesso includere altri router, per semplificarne la gestione.</a:t>
            </a:r>
          </a:p>
          <a:p>
            <a:pPr algn="just" fontAlgn="base"/>
            <a:r>
              <a:rPr lang="it-IT" dirty="0">
                <a:cs typeface="Soho Gothic Pro" panose="020B0503030504020204" pitchFamily="34" charset="0"/>
              </a:rPr>
              <a:t>Le proprietà più comuni utilizzate per le rotte sono:</a:t>
            </a:r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it-IT" b="1" dirty="0">
                <a:cs typeface="Soho Gothic Pro" panose="020B0503030504020204" pitchFamily="34" charset="0"/>
              </a:rPr>
              <a:t>path</a:t>
            </a:r>
            <a:r>
              <a:rPr lang="it-IT" dirty="0">
                <a:cs typeface="Soho Gothic Pro" panose="020B0503030504020204" pitchFamily="34" charset="0"/>
              </a:rPr>
              <a:t>: obbligatorio, ne indica l’endpoint relativo</a:t>
            </a:r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it-IT" b="1" dirty="0">
                <a:cs typeface="Soho Gothic Pro" panose="020B0503030504020204" pitchFamily="34" charset="0"/>
              </a:rPr>
              <a:t>redirectTo</a:t>
            </a:r>
            <a:r>
              <a:rPr lang="it-IT" dirty="0">
                <a:cs typeface="Soho Gothic Pro" panose="020B0503030504020204" pitchFamily="34" charset="0"/>
              </a:rPr>
              <a:t>: presente solitamente per pochi endpoint e reindirizza il flusso</a:t>
            </a:r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it-IT" b="1" dirty="0">
                <a:cs typeface="Soho Gothic Pro" panose="020B0503030504020204" pitchFamily="34" charset="0"/>
              </a:rPr>
              <a:t>component</a:t>
            </a:r>
            <a:r>
              <a:rPr lang="it-IT" dirty="0">
                <a:cs typeface="Soho Gothic Pro" panose="020B0503030504020204" pitchFamily="34" charset="0"/>
              </a:rPr>
              <a:t>: obbligatorio, indica quale template Angular utilizzare</a:t>
            </a:r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it-IT" b="1" dirty="0">
                <a:cs typeface="Soho Gothic Pro" panose="020B0503030504020204" pitchFamily="34" charset="0"/>
              </a:rPr>
              <a:t>loadComponent</a:t>
            </a:r>
            <a:r>
              <a:rPr lang="it-IT" dirty="0">
                <a:cs typeface="Soho Gothic Pro" panose="020B0503030504020204" pitchFamily="34" charset="0"/>
              </a:rPr>
              <a:t>: come il precedente, ma carica solo al reale utilizzo</a:t>
            </a:r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it-IT" b="1" dirty="0">
                <a:cs typeface="Soho Gothic Pro" panose="020B0503030504020204" pitchFamily="34" charset="0"/>
              </a:rPr>
              <a:t>children</a:t>
            </a:r>
            <a:r>
              <a:rPr lang="it-IT" dirty="0">
                <a:cs typeface="Soho Gothic Pro" panose="020B0503030504020204" pitchFamily="34" charset="0"/>
              </a:rPr>
              <a:t>: una lista di rotte che dipendono da quella corrente</a:t>
            </a:r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it-IT" b="1" dirty="0">
                <a:cs typeface="Soho Gothic Pro" panose="020B0503030504020204" pitchFamily="34" charset="0"/>
              </a:rPr>
              <a:t>loadChildren</a:t>
            </a:r>
            <a:r>
              <a:rPr lang="it-IT" dirty="0">
                <a:cs typeface="Soho Gothic Pro" panose="020B0503030504020204" pitchFamily="34" charset="0"/>
              </a:rPr>
              <a:t>: come la precedenze, ma carica solo quando necessario</a:t>
            </a:r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it-IT" b="1" dirty="0">
                <a:cs typeface="Soho Gothic Pro" panose="020B0503030504020204" pitchFamily="34" charset="0"/>
              </a:rPr>
              <a:t>canActivate</a:t>
            </a:r>
            <a:r>
              <a:rPr lang="it-IT" dirty="0">
                <a:cs typeface="Soho Gothic Pro" panose="020B0503030504020204" pitchFamily="34" charset="0"/>
              </a:rPr>
              <a:t>: lista di Guard che applica una o più verifica prima dell’accesso</a:t>
            </a:r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it-IT" b="1" dirty="0">
                <a:cs typeface="Soho Gothic Pro" panose="020B0503030504020204" pitchFamily="34" charset="0"/>
              </a:rPr>
              <a:t>resolve</a:t>
            </a:r>
            <a:r>
              <a:rPr lang="it-IT" dirty="0">
                <a:cs typeface="Soho Gothic Pro" panose="020B0503030504020204" pitchFamily="34" charset="0"/>
              </a:rPr>
              <a:t>: lista di Data Providers. La rotta ne attende la terminazione.</a:t>
            </a: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2637A45A-A25D-4BF4-A0AC-2FB6A30D625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77734" y="1382407"/>
            <a:ext cx="4360866" cy="3816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11005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5291" y="3902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1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91" y="3902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3"/>
            </p:custDataLst>
          </p:nvPr>
        </p:nvSpPr>
        <p:spPr>
          <a:xfrm>
            <a:off x="3175" y="1786"/>
            <a:ext cx="211556" cy="2115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198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649095"/>
            <a:ext cx="11519451" cy="403641"/>
          </a:xfrm>
        </p:spPr>
        <p:txBody>
          <a:bodyPr/>
          <a:lstStyle/>
          <a:p>
            <a:pPr algn="ctr"/>
            <a:r>
              <a:rPr lang="it-IT" b="1" dirty="0"/>
              <a:t>Routing: Angular (Guard)</a:t>
            </a:r>
          </a:p>
        </p:txBody>
      </p:sp>
      <p:sp>
        <p:nvSpPr>
          <p:cNvPr id="6" name="Marcador de texto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ES" dirty="0"/>
              <a:t>Intro</a:t>
            </a:r>
          </a:p>
        </p:txBody>
      </p:sp>
      <p:sp>
        <p:nvSpPr>
          <p:cNvPr id="10" name="Rettangolo 9">
            <a:extLst>
              <a:ext uri="{FF2B5EF4-FFF2-40B4-BE49-F238E27FC236}">
                <a16:creationId xmlns:a16="http://schemas.microsoft.com/office/drawing/2014/main" id="{5D83865D-F63F-4365-B2B2-19545ABF2943}"/>
              </a:ext>
            </a:extLst>
          </p:cNvPr>
          <p:cNvSpPr/>
          <p:nvPr/>
        </p:nvSpPr>
        <p:spPr>
          <a:xfrm>
            <a:off x="498637" y="1130593"/>
            <a:ext cx="1135681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/>
            <a:r>
              <a:rPr lang="it-IT" dirty="0">
                <a:cs typeface="Soho Gothic Pro" panose="020B0503030504020204" pitchFamily="34" charset="0"/>
              </a:rPr>
              <a:t>In Angular il Guard è semplicemente una porzione di codice applicata per verificare che siano presenti i </a:t>
            </a:r>
            <a:r>
              <a:rPr lang="it-IT" b="1" dirty="0">
                <a:cs typeface="Soho Gothic Pro" panose="020B0503030504020204" pitchFamily="34" charset="0"/>
              </a:rPr>
              <a:t>requisiti</a:t>
            </a:r>
            <a:r>
              <a:rPr lang="it-IT" dirty="0">
                <a:cs typeface="Soho Gothic Pro" panose="020B0503030504020204" pitchFamily="34" charset="0"/>
              </a:rPr>
              <a:t> per accedere alla pagina collegata. </a:t>
            </a:r>
          </a:p>
          <a:p>
            <a:pPr algn="just" fontAlgn="base"/>
            <a:r>
              <a:rPr lang="it-IT" dirty="0">
                <a:cs typeface="Soho Gothic Pro" panose="020B0503030504020204" pitchFamily="34" charset="0"/>
              </a:rPr>
              <a:t>Una Guard può essere globale (es. controlli sull’utente) e quindi applicata per ogni rotta, o locale alla singola rotta.</a:t>
            </a:r>
          </a:p>
          <a:p>
            <a:pPr algn="just" fontAlgn="base"/>
            <a:r>
              <a:rPr lang="it-IT" dirty="0">
                <a:cs typeface="Soho Gothic Pro" panose="020B0503030504020204" pitchFamily="34" charset="0"/>
              </a:rPr>
              <a:t>E’ possibile definire più di una Guard per rotta, ma attenzione </a:t>
            </a:r>
            <a:r>
              <a:rPr lang="it-IT" u="sng" dirty="0">
                <a:cs typeface="Soho Gothic Pro" panose="020B0503030504020204" pitchFamily="34" charset="0"/>
              </a:rPr>
              <a:t>ai tempi di attesa </a:t>
            </a:r>
            <a:r>
              <a:rPr lang="it-IT" dirty="0">
                <a:cs typeface="Soho Gothic Pro" panose="020B0503030504020204" pitchFamily="34" charset="0"/>
              </a:rPr>
              <a:t>e agli eventuali </a:t>
            </a:r>
            <a:r>
              <a:rPr lang="it-IT" u="sng" dirty="0">
                <a:cs typeface="Soho Gothic Pro" panose="020B0503030504020204" pitchFamily="34" charset="0"/>
              </a:rPr>
              <a:t>conflitti</a:t>
            </a:r>
            <a:r>
              <a:rPr lang="it-IT" dirty="0">
                <a:cs typeface="Soho Gothic Pro" panose="020B0503030504020204" pitchFamily="34" charset="0"/>
              </a:rPr>
              <a:t>.</a:t>
            </a:r>
          </a:p>
          <a:p>
            <a:pPr algn="just" fontAlgn="base"/>
            <a:r>
              <a:rPr lang="it-IT" dirty="0">
                <a:cs typeface="Soho Gothic Pro" panose="020B0503030504020204" pitchFamily="34" charset="0"/>
              </a:rPr>
              <a:t>Prima di Angular 16, per creare un Guard occorreva definire un componente che implementasse l’interfaccia </a:t>
            </a:r>
            <a:r>
              <a:rPr lang="it-IT" b="1" dirty="0"/>
              <a:t>CanActivate</a:t>
            </a:r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940E17AB-A0E4-4D5C-A52C-FBB8E746529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36948" y="2962776"/>
            <a:ext cx="7880189" cy="3251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90685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5291" y="3902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0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91" y="3902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3"/>
            </p:custDataLst>
          </p:nvPr>
        </p:nvSpPr>
        <p:spPr>
          <a:xfrm>
            <a:off x="3175" y="1786"/>
            <a:ext cx="211556" cy="2115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198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649095"/>
            <a:ext cx="11519451" cy="403641"/>
          </a:xfrm>
        </p:spPr>
        <p:txBody>
          <a:bodyPr/>
          <a:lstStyle/>
          <a:p>
            <a:pPr algn="ctr"/>
            <a:r>
              <a:rPr lang="it-IT" b="1" dirty="0"/>
              <a:t>Routing: Angular (Guard)</a:t>
            </a:r>
          </a:p>
        </p:txBody>
      </p:sp>
      <p:sp>
        <p:nvSpPr>
          <p:cNvPr id="6" name="Marcador de texto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ES" dirty="0"/>
              <a:t>Intro</a:t>
            </a:r>
          </a:p>
        </p:txBody>
      </p:sp>
      <p:sp>
        <p:nvSpPr>
          <p:cNvPr id="10" name="Rettangolo 9">
            <a:extLst>
              <a:ext uri="{FF2B5EF4-FFF2-40B4-BE49-F238E27FC236}">
                <a16:creationId xmlns:a16="http://schemas.microsoft.com/office/drawing/2014/main" id="{5D83865D-F63F-4365-B2B2-19545ABF2943}"/>
              </a:ext>
            </a:extLst>
          </p:cNvPr>
          <p:cNvSpPr/>
          <p:nvPr/>
        </p:nvSpPr>
        <p:spPr>
          <a:xfrm>
            <a:off x="498637" y="1130593"/>
            <a:ext cx="1135681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/>
            <a:r>
              <a:rPr lang="it-IT" dirty="0">
                <a:cs typeface="Soho Gothic Pro" panose="020B0503030504020204" pitchFamily="34" charset="0"/>
              </a:rPr>
              <a:t>Dalla versione 16, l’interfaccia CanActivate è deprecata e sostituita con </a:t>
            </a:r>
            <a:r>
              <a:rPr lang="it-IT" b="1" dirty="0" err="1"/>
              <a:t>CanActivateChildFn</a:t>
            </a:r>
            <a:r>
              <a:rPr lang="it-IT" dirty="0"/>
              <a:t>. Con questa si definisce semplicemente una funzione, che con </a:t>
            </a:r>
            <a:r>
              <a:rPr lang="it-IT" b="1" dirty="0"/>
              <a:t>inject</a:t>
            </a:r>
            <a:r>
              <a:rPr lang="it-IT" dirty="0"/>
              <a:t> ricava le dipendenze che nella versione precedente erano presenti nel costruttore.</a:t>
            </a:r>
          </a:p>
          <a:p>
            <a:pPr algn="just" fontAlgn="base"/>
            <a:r>
              <a:rPr lang="it-IT" dirty="0"/>
              <a:t>Entrambe accettano come parametro </a:t>
            </a:r>
            <a:r>
              <a:rPr lang="it-IT" b="1" dirty="0"/>
              <a:t>MaybeAsync</a:t>
            </a:r>
            <a:r>
              <a:rPr lang="it-IT" dirty="0"/>
              <a:t>:</a:t>
            </a:r>
            <a:r>
              <a:rPr lang="it-IT" b="1" dirty="0"/>
              <a:t> </a:t>
            </a:r>
            <a:r>
              <a:rPr lang="it-IT" altLang="it-IT" i="1" dirty="0"/>
              <a:t>type MaybeAsync&lt;T&gt; = T | Observable&lt;T&gt; | Promise&lt;T&gt;; </a:t>
            </a:r>
            <a:endParaRPr lang="it-IT" altLang="it-IT" sz="4000" i="1" dirty="0"/>
          </a:p>
        </p:txBody>
      </p:sp>
      <p:pic>
        <p:nvPicPr>
          <p:cNvPr id="11" name="Immagine 10">
            <a:extLst>
              <a:ext uri="{FF2B5EF4-FFF2-40B4-BE49-F238E27FC236}">
                <a16:creationId xmlns:a16="http://schemas.microsoft.com/office/drawing/2014/main" id="{C8BB7CAB-C787-4652-BD68-84865FB40A9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89756" y="3152274"/>
            <a:ext cx="6174573" cy="3240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2605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5291" y="3902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3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91" y="3902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3"/>
            </p:custDataLst>
          </p:nvPr>
        </p:nvSpPr>
        <p:spPr>
          <a:xfrm>
            <a:off x="3175" y="1786"/>
            <a:ext cx="211556" cy="2115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198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649095"/>
            <a:ext cx="11519451" cy="403641"/>
          </a:xfrm>
        </p:spPr>
        <p:txBody>
          <a:bodyPr/>
          <a:lstStyle/>
          <a:p>
            <a:pPr algn="ctr"/>
            <a:r>
              <a:rPr lang="it-IT" b="1" dirty="0"/>
              <a:t>Routing: Angular (Resolve)</a:t>
            </a:r>
          </a:p>
        </p:txBody>
      </p:sp>
      <p:sp>
        <p:nvSpPr>
          <p:cNvPr id="6" name="Marcador de texto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ES" dirty="0"/>
              <a:t>Intro</a:t>
            </a:r>
          </a:p>
        </p:txBody>
      </p:sp>
      <p:sp>
        <p:nvSpPr>
          <p:cNvPr id="10" name="Rettangolo 9">
            <a:extLst>
              <a:ext uri="{FF2B5EF4-FFF2-40B4-BE49-F238E27FC236}">
                <a16:creationId xmlns:a16="http://schemas.microsoft.com/office/drawing/2014/main" id="{5D83865D-F63F-4365-B2B2-19545ABF2943}"/>
              </a:ext>
            </a:extLst>
          </p:cNvPr>
          <p:cNvSpPr/>
          <p:nvPr/>
        </p:nvSpPr>
        <p:spPr>
          <a:xfrm>
            <a:off x="498637" y="1130593"/>
            <a:ext cx="1135681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/>
            <a:r>
              <a:rPr lang="it-IT" dirty="0">
                <a:cs typeface="Soho Gothic Pro" panose="020B0503030504020204" pitchFamily="34" charset="0"/>
              </a:rPr>
              <a:t>Un </a:t>
            </a:r>
            <a:r>
              <a:rPr lang="it-IT" b="1" dirty="0">
                <a:cs typeface="Soho Gothic Pro" panose="020B0503030504020204" pitchFamily="34" charset="0"/>
              </a:rPr>
              <a:t>Resolver</a:t>
            </a:r>
            <a:r>
              <a:rPr lang="it-IT" dirty="0">
                <a:cs typeface="Soho Gothic Pro" panose="020B0503030504020204" pitchFamily="34" charset="0"/>
              </a:rPr>
              <a:t> è un componente che recupera tutti i dati necessari alla visualizzazione della pagina, semplificando la gestione dei dati. </a:t>
            </a:r>
          </a:p>
          <a:p>
            <a:pPr algn="just" fontAlgn="base"/>
            <a:r>
              <a:rPr lang="it-IT" dirty="0">
                <a:cs typeface="Soho Gothic Pro" panose="020B0503030504020204" pitchFamily="34" charset="0"/>
              </a:rPr>
              <a:t>In tal modo, il compito di recuperare i dati da fonti esterne è demandato ai Resolver.</a:t>
            </a:r>
          </a:p>
          <a:p>
            <a:pPr algn="just" fontAlgn="base"/>
            <a:r>
              <a:rPr lang="it-IT" altLang="it-IT" dirty="0"/>
              <a:t>I Resolver sono eseguiti solo dopo che tutte le Guard hanno terminato con successo.</a:t>
            </a:r>
          </a:p>
          <a:p>
            <a:pPr algn="just" fontAlgn="base"/>
            <a:r>
              <a:rPr lang="it-IT" altLang="it-IT" dirty="0"/>
              <a:t>Visto che le Guard effettuano dei controlli preliminari, l’applicazione di alcune condizioni (come la presenza di parametri), risulta ridondante ma sicuramente più sicura.</a:t>
            </a: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2D712B4A-C903-4232-A11B-CAD5058ECB1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74662" y="3339165"/>
            <a:ext cx="6842676" cy="2737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64080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5291" y="3902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91" y="3902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3"/>
            </p:custDataLst>
          </p:nvPr>
        </p:nvSpPr>
        <p:spPr>
          <a:xfrm>
            <a:off x="3175" y="1786"/>
            <a:ext cx="211556" cy="2115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4264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Asincronimo:</a:t>
            </a:r>
            <a:br>
              <a:rPr lang="es-ES" dirty="0"/>
            </a:br>
            <a:r>
              <a:rPr lang="es-ES" dirty="0"/>
              <a:t>Promise</a:t>
            </a:r>
            <a:br>
              <a:rPr lang="es-ES" dirty="0"/>
            </a:br>
            <a:r>
              <a:rPr lang="es-ES" dirty="0"/>
              <a:t>Observable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quarter" idx="1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s-ES"/>
              <a:t>01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56965879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5291" y="3902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6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91" y="3902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3"/>
            </p:custDataLst>
          </p:nvPr>
        </p:nvSpPr>
        <p:spPr>
          <a:xfrm>
            <a:off x="3175" y="1786"/>
            <a:ext cx="211556" cy="2115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198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649095"/>
            <a:ext cx="11519451" cy="403641"/>
          </a:xfrm>
        </p:spPr>
        <p:txBody>
          <a:bodyPr/>
          <a:lstStyle/>
          <a:p>
            <a:pPr algn="ctr"/>
            <a:r>
              <a:rPr lang="it-IT" b="1" dirty="0"/>
              <a:t>Routing: Angular (Resolve)</a:t>
            </a:r>
          </a:p>
        </p:txBody>
      </p:sp>
      <p:sp>
        <p:nvSpPr>
          <p:cNvPr id="6" name="Marcador de texto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ES" dirty="0"/>
              <a:t>Intro</a:t>
            </a:r>
          </a:p>
        </p:txBody>
      </p:sp>
      <p:sp>
        <p:nvSpPr>
          <p:cNvPr id="10" name="Rettangolo 9">
            <a:extLst>
              <a:ext uri="{FF2B5EF4-FFF2-40B4-BE49-F238E27FC236}">
                <a16:creationId xmlns:a16="http://schemas.microsoft.com/office/drawing/2014/main" id="{5D83865D-F63F-4365-B2B2-19545ABF2943}"/>
              </a:ext>
            </a:extLst>
          </p:cNvPr>
          <p:cNvSpPr/>
          <p:nvPr/>
        </p:nvSpPr>
        <p:spPr>
          <a:xfrm>
            <a:off x="252663" y="1130593"/>
            <a:ext cx="5660859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/>
            <a:r>
              <a:rPr lang="it-IT" dirty="0">
                <a:cs typeface="Soho Gothic Pro" panose="020B0503030504020204" pitchFamily="34" charset="0"/>
              </a:rPr>
              <a:t>Come per i Guard, anche l’interfaccia dei Resolver è cambiata con le recenti versioni di Angular.</a:t>
            </a:r>
          </a:p>
          <a:p>
            <a:pPr algn="just" fontAlgn="base"/>
            <a:r>
              <a:rPr lang="it-IT" dirty="0">
                <a:cs typeface="Soho Gothic Pro" panose="020B0503030504020204" pitchFamily="34" charset="0"/>
              </a:rPr>
              <a:t>Dalla versione 15, l’interfaccia </a:t>
            </a:r>
            <a:r>
              <a:rPr lang="it-IT" b="1" dirty="0">
                <a:cs typeface="Soho Gothic Pro" panose="020B0503030504020204" pitchFamily="34" charset="0"/>
              </a:rPr>
              <a:t>Resolve&lt;?&gt; </a:t>
            </a:r>
            <a:r>
              <a:rPr lang="it-IT" dirty="0">
                <a:cs typeface="Soho Gothic Pro" panose="020B0503030504020204" pitchFamily="34" charset="0"/>
              </a:rPr>
              <a:t>è deprecata, a favore di </a:t>
            </a:r>
            <a:r>
              <a:rPr lang="it-IT" b="1" dirty="0">
                <a:cs typeface="Soho Gothic Pro" panose="020B0503030504020204" pitchFamily="34" charset="0"/>
              </a:rPr>
              <a:t>ResolveFn&lt;?&gt; </a:t>
            </a:r>
            <a:r>
              <a:rPr lang="it-IT" dirty="0">
                <a:cs typeface="Soho Gothic Pro" panose="020B0503030504020204" pitchFamily="34" charset="0"/>
              </a:rPr>
              <a:t>che consente di definire un Resolver direttamente come funzione.</a:t>
            </a:r>
          </a:p>
          <a:p>
            <a:pPr algn="just" fontAlgn="base"/>
            <a:endParaRPr lang="it-IT" dirty="0">
              <a:cs typeface="Soho Gothic Pro" panose="020B0503030504020204" pitchFamily="34" charset="0"/>
            </a:endParaRPr>
          </a:p>
          <a:p>
            <a:pPr algn="just" fontAlgn="base"/>
            <a:endParaRPr lang="it-IT" dirty="0">
              <a:cs typeface="Soho Gothic Pro" panose="020B0503030504020204" pitchFamily="34" charset="0"/>
            </a:endParaRPr>
          </a:p>
          <a:p>
            <a:pPr algn="just" fontAlgn="base"/>
            <a:endParaRPr lang="it-IT" dirty="0">
              <a:cs typeface="Soho Gothic Pro" panose="020B0503030504020204" pitchFamily="34" charset="0"/>
            </a:endParaRPr>
          </a:p>
          <a:p>
            <a:pPr algn="just" fontAlgn="base"/>
            <a:endParaRPr lang="it-IT" dirty="0">
              <a:cs typeface="Soho Gothic Pro" panose="020B0503030504020204" pitchFamily="34" charset="0"/>
            </a:endParaRPr>
          </a:p>
          <a:p>
            <a:pPr algn="just" fontAlgn="base"/>
            <a:endParaRPr lang="it-IT" dirty="0">
              <a:cs typeface="Soho Gothic Pro" panose="020B0503030504020204" pitchFamily="34" charset="0"/>
            </a:endParaRPr>
          </a:p>
          <a:p>
            <a:pPr algn="just" fontAlgn="base"/>
            <a:r>
              <a:rPr lang="it-IT" b="1" i="1" dirty="0">
                <a:cs typeface="Soho Gothic Pro" panose="020B0503030504020204" pitchFamily="34" charset="0"/>
              </a:rPr>
              <a:t>Come accedere ai dati?</a:t>
            </a:r>
          </a:p>
          <a:p>
            <a:pPr algn="just" fontAlgn="base"/>
            <a:r>
              <a:rPr lang="it-IT" altLang="it-IT" dirty="0"/>
              <a:t>Il tipo di ritorno di un Resolve può essere un singolo dato, o una collezione di dati. Per accedervi, basta ascoltare gli eventi emessi dal Router e leggerli.</a:t>
            </a: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5CC2B8AB-BD34-40E4-B913-0823B25E29A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86761" y="1456072"/>
            <a:ext cx="5660859" cy="1395467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D053713E-14C2-4226-9EBA-7A7FCF8B837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34896" y="3545846"/>
            <a:ext cx="4564587" cy="1856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28698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5291" y="3902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91" y="3902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3"/>
            </p:custDataLst>
          </p:nvPr>
        </p:nvSpPr>
        <p:spPr>
          <a:xfrm>
            <a:off x="3175" y="1786"/>
            <a:ext cx="211556" cy="2115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198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649095"/>
            <a:ext cx="11519451" cy="403641"/>
          </a:xfrm>
        </p:spPr>
        <p:txBody>
          <a:bodyPr/>
          <a:lstStyle/>
          <a:p>
            <a:pPr algn="ctr"/>
            <a:r>
              <a:rPr lang="it-IT" b="1" dirty="0"/>
              <a:t>Asincronismo</a:t>
            </a:r>
          </a:p>
        </p:txBody>
      </p:sp>
      <p:sp>
        <p:nvSpPr>
          <p:cNvPr id="6" name="Marcador de texto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ES" dirty="0"/>
              <a:t>Intro</a:t>
            </a:r>
          </a:p>
        </p:txBody>
      </p:sp>
      <p:sp>
        <p:nvSpPr>
          <p:cNvPr id="4" name="Rettangolo 3"/>
          <p:cNvSpPr/>
          <p:nvPr/>
        </p:nvSpPr>
        <p:spPr>
          <a:xfrm>
            <a:off x="486607" y="1173508"/>
            <a:ext cx="6634956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/>
            <a:r>
              <a:rPr lang="it-IT" dirty="0">
                <a:cs typeface="Soho Gothic Pro" panose="020B0503030504020204" pitchFamily="34" charset="0"/>
              </a:rPr>
              <a:t>Normalmente i linguaggi di programmazione eseguono le operazioni in maniera </a:t>
            </a:r>
            <a:r>
              <a:rPr lang="it-IT" b="1" dirty="0">
                <a:cs typeface="Soho Gothic Pro" panose="020B0503030504020204" pitchFamily="34" charset="0"/>
              </a:rPr>
              <a:t>sincrona</a:t>
            </a:r>
            <a:r>
              <a:rPr lang="it-IT" dirty="0">
                <a:cs typeface="Soho Gothic Pro" panose="020B0503030504020204" pitchFamily="34" charset="0"/>
              </a:rPr>
              <a:t> definendo un flusso di operazioni ben preciso.</a:t>
            </a:r>
          </a:p>
          <a:p>
            <a:pPr algn="just" fontAlgn="base"/>
            <a:r>
              <a:rPr lang="it-IT" dirty="0">
                <a:cs typeface="Soho Gothic Pro" panose="020B0503030504020204" pitchFamily="34" charset="0"/>
              </a:rPr>
              <a:t>In qualsiasi scenario dove i tempi di esecuzione o di attesa di agenti sia discrepante, si utilizza la programmazione </a:t>
            </a:r>
            <a:r>
              <a:rPr lang="it-IT" b="1" dirty="0">
                <a:cs typeface="Soho Gothic Pro" panose="020B0503030504020204" pitchFamily="34" charset="0"/>
              </a:rPr>
              <a:t>asincrona</a:t>
            </a:r>
            <a:r>
              <a:rPr lang="it-IT" dirty="0">
                <a:cs typeface="Soho Gothic Pro" panose="020B0503030504020204" pitchFamily="34" charset="0"/>
              </a:rPr>
              <a:t> con la quale si implementano strumenti per eseguire porzioni di codice solo quando necessario.</a:t>
            </a:r>
          </a:p>
          <a:p>
            <a:pPr algn="just" fontAlgn="base"/>
            <a:endParaRPr lang="it-IT" dirty="0">
              <a:cs typeface="Soho Gothic Pro" panose="020B0503030504020204" pitchFamily="34" charset="0"/>
            </a:endParaRPr>
          </a:p>
          <a:p>
            <a:pPr algn="just" fontAlgn="base"/>
            <a:r>
              <a:rPr lang="it-IT" b="1" i="1" dirty="0">
                <a:cs typeface="Soho Gothic Pro" panose="020B0503030504020204" pitchFamily="34" charset="0"/>
              </a:rPr>
              <a:t>Quando utilizzare il metodo asincrono?</a:t>
            </a:r>
          </a:p>
          <a:p>
            <a:pPr algn="just" fontAlgn="base"/>
            <a:endParaRPr lang="it-IT" dirty="0">
              <a:cs typeface="Soho Gothic Pro" panose="020B0503030504020204" pitchFamily="34" charset="0"/>
            </a:endParaRPr>
          </a:p>
          <a:p>
            <a:pPr algn="just" fontAlgn="base"/>
            <a:r>
              <a:rPr lang="it-IT" dirty="0">
                <a:cs typeface="Soho Gothic Pro" panose="020B0503030504020204" pitchFamily="34" charset="0"/>
              </a:rPr>
              <a:t>Come ogni metodologia, esistono dei criteri oggetti che classificano gli scenari di utilizzo. Lo sviluppatore in generale può implementare il metodo asincrono se:</a:t>
            </a:r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it-IT" dirty="0">
                <a:cs typeface="Soho Gothic Pro" panose="020B0503030504020204" pitchFamily="34" charset="0"/>
              </a:rPr>
              <a:t>Non è necessario che sia eseguito il flusso di operazioni per come è scritto</a:t>
            </a:r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it-IT" dirty="0">
                <a:cs typeface="Soho Gothic Pro" panose="020B0503030504020204" pitchFamily="34" charset="0"/>
              </a:rPr>
              <a:t>L’overhead aggiunto dall’asincronismo non influisce</a:t>
            </a:r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it-IT" dirty="0">
                <a:cs typeface="Soho Gothic Pro" panose="020B0503030504020204" pitchFamily="34" charset="0"/>
              </a:rPr>
              <a:t>Non si è disposti ad attendere i tempi di esecuzione di una operazione</a:t>
            </a:r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endParaRPr lang="it-IT" dirty="0">
              <a:cs typeface="Soho Gothic Pro" panose="020B0503030504020204" pitchFamily="34" charset="0"/>
            </a:endParaRPr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0CC5EA51-F881-49E9-A327-66E11016CA5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44292" y="1956394"/>
            <a:ext cx="3913714" cy="3173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8342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5291" y="3902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9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91" y="3902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3"/>
            </p:custDataLst>
          </p:nvPr>
        </p:nvSpPr>
        <p:spPr>
          <a:xfrm>
            <a:off x="3175" y="1786"/>
            <a:ext cx="211556" cy="2115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198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649095"/>
            <a:ext cx="11519451" cy="403641"/>
          </a:xfrm>
        </p:spPr>
        <p:txBody>
          <a:bodyPr/>
          <a:lstStyle/>
          <a:p>
            <a:pPr algn="ctr"/>
            <a:r>
              <a:rPr lang="it-IT" b="1" dirty="0"/>
              <a:t>Asincronismo</a:t>
            </a:r>
          </a:p>
        </p:txBody>
      </p:sp>
      <p:sp>
        <p:nvSpPr>
          <p:cNvPr id="6" name="Marcador de texto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ES" dirty="0"/>
              <a:t>Intro</a:t>
            </a:r>
          </a:p>
        </p:txBody>
      </p:sp>
      <p:sp>
        <p:nvSpPr>
          <p:cNvPr id="4" name="Rettangolo 3"/>
          <p:cNvSpPr/>
          <p:nvPr/>
        </p:nvSpPr>
        <p:spPr>
          <a:xfrm>
            <a:off x="597158" y="1859338"/>
            <a:ext cx="5774344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/>
            <a:r>
              <a:rPr lang="it-IT" dirty="0">
                <a:cs typeface="Soho Gothic Pro" panose="020B0503030504020204" pitchFamily="34" charset="0"/>
              </a:rPr>
              <a:t>In JS/TS per l’asincronismo si pone l’utilizzo delle </a:t>
            </a:r>
            <a:r>
              <a:rPr lang="it-IT" b="1" dirty="0">
                <a:cs typeface="Soho Gothic Pro" panose="020B0503030504020204" pitchFamily="34" charset="0"/>
              </a:rPr>
              <a:t>callback</a:t>
            </a:r>
            <a:r>
              <a:rPr lang="it-IT" dirty="0">
                <a:cs typeface="Soho Gothic Pro" panose="020B0503030504020204" pitchFamily="34" charset="0"/>
              </a:rPr>
              <a:t>, funzioni passate in input ed invocate solo dopo la conclusione dell’operazione asincrona. </a:t>
            </a:r>
          </a:p>
          <a:p>
            <a:pPr algn="just" fontAlgn="base"/>
            <a:r>
              <a:rPr lang="it-IT" dirty="0">
                <a:cs typeface="Soho Gothic Pro" panose="020B0503030504020204" pitchFamily="34" charset="0"/>
              </a:rPr>
              <a:t>Stesso procedimento adottato per l’</a:t>
            </a:r>
            <a:r>
              <a:rPr lang="it-IT" dirty="0" err="1">
                <a:cs typeface="Soho Gothic Pro" panose="020B0503030504020204" pitchFamily="34" charset="0"/>
              </a:rPr>
              <a:t>event</a:t>
            </a:r>
            <a:r>
              <a:rPr lang="it-IT" dirty="0">
                <a:cs typeface="Soho Gothic Pro" panose="020B0503030504020204" pitchFamily="34" charset="0"/>
              </a:rPr>
              <a:t> handling.</a:t>
            </a:r>
          </a:p>
          <a:p>
            <a:pPr algn="just" fontAlgn="base"/>
            <a:endParaRPr lang="it-IT" dirty="0">
              <a:cs typeface="Soho Gothic Pro" panose="020B0503030504020204" pitchFamily="34" charset="0"/>
            </a:endParaRPr>
          </a:p>
          <a:p>
            <a:pPr algn="just" fontAlgn="base"/>
            <a:r>
              <a:rPr lang="it-IT" b="1" i="1" dirty="0">
                <a:cs typeface="Soho Gothic Pro" panose="020B0503030504020204" pitchFamily="34" charset="0"/>
              </a:rPr>
              <a:t>The callback hell</a:t>
            </a:r>
          </a:p>
          <a:p>
            <a:pPr algn="just" fontAlgn="base"/>
            <a:r>
              <a:rPr lang="it-IT" dirty="0">
                <a:cs typeface="Soho Gothic Pro" panose="020B0503030504020204" pitchFamily="34" charset="0"/>
              </a:rPr>
              <a:t>Utilizzare le callback spesso implica la reingegnerizzazione del codice, dovuta alla scarsa leggibilità.</a:t>
            </a:r>
          </a:p>
          <a:p>
            <a:pPr algn="just" fontAlgn="base"/>
            <a:r>
              <a:rPr lang="it-IT" dirty="0">
                <a:cs typeface="Soho Gothic Pro" panose="020B0503030504020204" pitchFamily="34" charset="0"/>
              </a:rPr>
              <a:t>Dunque lo sviluppatore può ripartire il codice in porzioni più leggibili oppure utilizzare altri costrutti presenti nel linguaggio utilizzato: In JS/TS sono presenti le </a:t>
            </a:r>
            <a:r>
              <a:rPr lang="it-IT" b="1" dirty="0">
                <a:cs typeface="Soho Gothic Pro" panose="020B0503030504020204" pitchFamily="34" charset="0"/>
              </a:rPr>
              <a:t>Promise</a:t>
            </a:r>
            <a:r>
              <a:rPr lang="it-IT" dirty="0">
                <a:cs typeface="Soho Gothic Pro" panose="020B0503030504020204" pitchFamily="34" charset="0"/>
              </a:rPr>
              <a:t> e gli </a:t>
            </a:r>
            <a:r>
              <a:rPr lang="it-IT" b="1" dirty="0">
                <a:cs typeface="Soho Gothic Pro" panose="020B0503030504020204" pitchFamily="34" charset="0"/>
              </a:rPr>
              <a:t>Observable</a:t>
            </a:r>
            <a:r>
              <a:rPr lang="it-IT" dirty="0">
                <a:cs typeface="Soho Gothic Pro" panose="020B0503030504020204" pitchFamily="34" charset="0"/>
              </a:rPr>
              <a:t>.</a:t>
            </a: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3888CBC3-6CD7-430B-909A-6791D6751FE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64594" y="1560046"/>
            <a:ext cx="4441006" cy="3737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39749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5291" y="3902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91" y="3902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3"/>
            </p:custDataLst>
          </p:nvPr>
        </p:nvSpPr>
        <p:spPr>
          <a:xfrm>
            <a:off x="3175" y="1786"/>
            <a:ext cx="211556" cy="2115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198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649095"/>
            <a:ext cx="11519451" cy="403641"/>
          </a:xfrm>
        </p:spPr>
        <p:txBody>
          <a:bodyPr/>
          <a:lstStyle/>
          <a:p>
            <a:pPr algn="ctr"/>
            <a:r>
              <a:rPr lang="it-IT" b="1" dirty="0"/>
              <a:t>Asincronismo: Promise</a:t>
            </a:r>
          </a:p>
        </p:txBody>
      </p:sp>
      <p:sp>
        <p:nvSpPr>
          <p:cNvPr id="6" name="Marcador de texto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ES" dirty="0"/>
              <a:t>Intro</a:t>
            </a:r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938801FC-C10F-4B1D-AD6F-064EAC71DE0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14283" y="1145590"/>
            <a:ext cx="2904728" cy="1833024"/>
          </a:xfrm>
          <a:prstGeom prst="rect">
            <a:avLst/>
          </a:prstGeom>
        </p:spPr>
      </p:pic>
      <p:sp>
        <p:nvSpPr>
          <p:cNvPr id="10" name="Rettangolo 9">
            <a:extLst>
              <a:ext uri="{FF2B5EF4-FFF2-40B4-BE49-F238E27FC236}">
                <a16:creationId xmlns:a16="http://schemas.microsoft.com/office/drawing/2014/main" id="{8832A6C9-82F2-4DDE-83DF-8DAE66CCE9CF}"/>
              </a:ext>
            </a:extLst>
          </p:cNvPr>
          <p:cNvSpPr/>
          <p:nvPr/>
        </p:nvSpPr>
        <p:spPr>
          <a:xfrm>
            <a:off x="586400" y="1859338"/>
            <a:ext cx="5774344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/>
            <a:r>
              <a:rPr lang="it-IT" dirty="0">
                <a:cs typeface="Soho Gothic Pro" panose="020B0503030504020204" pitchFamily="34" charset="0"/>
              </a:rPr>
              <a:t>Le Promise fungono da </a:t>
            </a:r>
            <a:r>
              <a:rPr lang="it-IT" i="1" dirty="0">
                <a:cs typeface="Soho Gothic Pro" panose="020B0503030504020204" pitchFamily="34" charset="0"/>
              </a:rPr>
              <a:t>link</a:t>
            </a:r>
            <a:r>
              <a:rPr lang="it-IT" dirty="0">
                <a:cs typeface="Soho Gothic Pro" panose="020B0503030504020204" pitchFamily="34" charset="0"/>
              </a:rPr>
              <a:t> tra un produttore di dati ed un consumatore e rappresentano una </a:t>
            </a:r>
            <a:r>
              <a:rPr lang="it-IT" u="sng" dirty="0">
                <a:cs typeface="Soho Gothic Pro" panose="020B0503030504020204" pitchFamily="34" charset="0"/>
              </a:rPr>
              <a:t>operazione asincrona </a:t>
            </a:r>
            <a:r>
              <a:rPr lang="it-IT" dirty="0">
                <a:cs typeface="Soho Gothic Pro" panose="020B0503030504020204" pitchFamily="34" charset="0"/>
              </a:rPr>
              <a:t>che può terminare con </a:t>
            </a:r>
            <a:r>
              <a:rPr lang="it-IT" b="1" dirty="0">
                <a:cs typeface="Soho Gothic Pro" panose="020B0503030504020204" pitchFamily="34" charset="0"/>
              </a:rPr>
              <a:t>successo </a:t>
            </a:r>
            <a:r>
              <a:rPr lang="it-IT" dirty="0">
                <a:cs typeface="Soho Gothic Pro" panose="020B0503030504020204" pitchFamily="34" charset="0"/>
              </a:rPr>
              <a:t>o </a:t>
            </a:r>
            <a:r>
              <a:rPr lang="it-IT" b="1" dirty="0">
                <a:cs typeface="Soho Gothic Pro" panose="020B0503030504020204" pitchFamily="34" charset="0"/>
              </a:rPr>
              <a:t>fallire</a:t>
            </a:r>
            <a:r>
              <a:rPr lang="it-IT" dirty="0">
                <a:cs typeface="Soho Gothic Pro" panose="020B0503030504020204" pitchFamily="34" charset="0"/>
              </a:rPr>
              <a:t>.</a:t>
            </a:r>
          </a:p>
          <a:p>
            <a:pPr algn="just" fontAlgn="base"/>
            <a:r>
              <a:rPr lang="it-IT" dirty="0">
                <a:cs typeface="Soho Gothic Pro" panose="020B0503030504020204" pitchFamily="34" charset="0"/>
              </a:rPr>
              <a:t>I possibili stati sono:</a:t>
            </a:r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it-IT" b="1" dirty="0">
                <a:cs typeface="Soho Gothic Pro" panose="020B0503030504020204" pitchFamily="34" charset="0"/>
              </a:rPr>
              <a:t>Pending</a:t>
            </a:r>
            <a:r>
              <a:rPr lang="it-IT" dirty="0">
                <a:cs typeface="Soho Gothic Pro" panose="020B0503030504020204" pitchFamily="34" charset="0"/>
              </a:rPr>
              <a:t>: è lo stato iniziale e rappresenta lo stato prima del quale viene risolta o fallisce,</a:t>
            </a:r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it-IT" b="1" dirty="0">
                <a:cs typeface="Soho Gothic Pro" panose="020B0503030504020204" pitchFamily="34" charset="0"/>
              </a:rPr>
              <a:t>Fulfilled</a:t>
            </a:r>
            <a:r>
              <a:rPr lang="it-IT" dirty="0">
                <a:cs typeface="Soho Gothic Pro" panose="020B0503030504020204" pitchFamily="34" charset="0"/>
              </a:rPr>
              <a:t>: l’operazione asincrona è conclusa con successo e (eventualmente) viene prodotto un valore. Da questo stato sono richiamate le callback sottoscritte col </a:t>
            </a:r>
            <a:r>
              <a:rPr lang="it-IT" b="1" dirty="0">
                <a:cs typeface="Soho Gothic Pro" panose="020B0503030504020204" pitchFamily="34" charset="0"/>
              </a:rPr>
              <a:t>.then()</a:t>
            </a:r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it-IT" b="1" dirty="0">
                <a:cs typeface="Soho Gothic Pro" panose="020B0503030504020204" pitchFamily="34" charset="0"/>
              </a:rPr>
              <a:t>Rejected</a:t>
            </a:r>
            <a:r>
              <a:rPr lang="it-IT" dirty="0">
                <a:cs typeface="Soho Gothic Pro" panose="020B0503030504020204" pitchFamily="34" charset="0"/>
              </a:rPr>
              <a:t>: l’operazione asincrona fallisce e viene prodotto il motivo del fallimento. Qui sono richiamate le sottoscrizione dei </a:t>
            </a:r>
            <a:r>
              <a:rPr lang="it-IT" b="1" dirty="0">
                <a:cs typeface="Soho Gothic Pro" panose="020B0503030504020204" pitchFamily="34" charset="0"/>
              </a:rPr>
              <a:t>.catch()</a:t>
            </a:r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it-IT" b="1" dirty="0">
                <a:cs typeface="Soho Gothic Pro" panose="020B0503030504020204" pitchFamily="34" charset="0"/>
              </a:rPr>
              <a:t>Settled</a:t>
            </a:r>
            <a:r>
              <a:rPr lang="it-IT" dirty="0">
                <a:cs typeface="Soho Gothic Pro" panose="020B0503030504020204" pitchFamily="34" charset="0"/>
              </a:rPr>
              <a:t>: stato finale che ne indica la terminazione, indipendentemente dal risultato. Qui viene richiamato il </a:t>
            </a:r>
            <a:r>
              <a:rPr lang="it-IT" b="1" dirty="0">
                <a:cs typeface="Soho Gothic Pro" panose="020B0503030504020204" pitchFamily="34" charset="0"/>
              </a:rPr>
              <a:t>.finally()</a:t>
            </a:r>
          </a:p>
        </p:txBody>
      </p:sp>
      <p:pic>
        <p:nvPicPr>
          <p:cNvPr id="12" name="Immagine 11">
            <a:extLst>
              <a:ext uri="{FF2B5EF4-FFF2-40B4-BE49-F238E27FC236}">
                <a16:creationId xmlns:a16="http://schemas.microsoft.com/office/drawing/2014/main" id="{A77A9579-6FBB-4D35-9475-DF5E2F87628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2926" y="3215452"/>
            <a:ext cx="4962525" cy="2676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40334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5291" y="3902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5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91" y="3902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3"/>
            </p:custDataLst>
          </p:nvPr>
        </p:nvSpPr>
        <p:spPr>
          <a:xfrm>
            <a:off x="3175" y="1786"/>
            <a:ext cx="211556" cy="2115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198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649095"/>
            <a:ext cx="11519451" cy="403641"/>
          </a:xfrm>
        </p:spPr>
        <p:txBody>
          <a:bodyPr/>
          <a:lstStyle/>
          <a:p>
            <a:pPr algn="ctr"/>
            <a:r>
              <a:rPr lang="it-IT" b="1" dirty="0"/>
              <a:t>Asincronismo: Promise</a:t>
            </a:r>
          </a:p>
        </p:txBody>
      </p:sp>
      <p:sp>
        <p:nvSpPr>
          <p:cNvPr id="6" name="Marcador de texto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ES" dirty="0"/>
              <a:t>Intro</a:t>
            </a:r>
          </a:p>
        </p:txBody>
      </p:sp>
      <p:sp>
        <p:nvSpPr>
          <p:cNvPr id="4" name="Rettangolo 3"/>
          <p:cNvSpPr/>
          <p:nvPr/>
        </p:nvSpPr>
        <p:spPr>
          <a:xfrm>
            <a:off x="597158" y="2963729"/>
            <a:ext cx="527595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/>
            <a:r>
              <a:rPr lang="it-IT" dirty="0">
                <a:cs typeface="Soho Gothic Pro" panose="020B0503030504020204" pitchFamily="34" charset="0"/>
              </a:rPr>
              <a:t>Nell’esempio di fianco è mostrato un comune utilizzo di un Promise con la quale si gestiscono gli errori che scaturiscono da operazioni asincrone.</a:t>
            </a:r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10A698F1-F858-4FFC-BBE7-91000A0331F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25856" y="1312433"/>
            <a:ext cx="5929595" cy="3963225"/>
          </a:xfrm>
          <a:prstGeom prst="rect">
            <a:avLst/>
          </a:prstGeom>
        </p:spPr>
      </p:pic>
      <p:pic>
        <p:nvPicPr>
          <p:cNvPr id="11" name="Immagine 10">
            <a:extLst>
              <a:ext uri="{FF2B5EF4-FFF2-40B4-BE49-F238E27FC236}">
                <a16:creationId xmlns:a16="http://schemas.microsoft.com/office/drawing/2014/main" id="{3FCB5C8C-E2CE-4412-A89F-1606F463881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087172" y="5086912"/>
            <a:ext cx="2345124" cy="874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69350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5291" y="3902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0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91" y="3902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3"/>
            </p:custDataLst>
          </p:nvPr>
        </p:nvSpPr>
        <p:spPr>
          <a:xfrm>
            <a:off x="3175" y="1786"/>
            <a:ext cx="211556" cy="2115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198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649095"/>
            <a:ext cx="11519451" cy="403641"/>
          </a:xfrm>
        </p:spPr>
        <p:txBody>
          <a:bodyPr/>
          <a:lstStyle/>
          <a:p>
            <a:pPr algn="ctr"/>
            <a:r>
              <a:rPr lang="it-IT" b="1" dirty="0"/>
              <a:t>Asincronismo: Promise </a:t>
            </a:r>
            <a:r>
              <a:rPr lang="it-IT" b="1" dirty="0" err="1"/>
              <a:t>chaining</a:t>
            </a:r>
            <a:endParaRPr lang="it-IT" b="1" dirty="0"/>
          </a:p>
        </p:txBody>
      </p:sp>
      <p:sp>
        <p:nvSpPr>
          <p:cNvPr id="6" name="Marcador de texto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ES" dirty="0"/>
              <a:t>Intro</a:t>
            </a:r>
          </a:p>
        </p:txBody>
      </p:sp>
      <p:sp>
        <p:nvSpPr>
          <p:cNvPr id="4" name="Rettangolo 3"/>
          <p:cNvSpPr/>
          <p:nvPr/>
        </p:nvSpPr>
        <p:spPr>
          <a:xfrm>
            <a:off x="1430817" y="1429948"/>
            <a:ext cx="932981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/>
            <a:r>
              <a:rPr lang="it-IT" b="1" i="1" dirty="0">
                <a:cs typeface="Soho Gothic Pro" panose="020B0503030504020204" pitchFamily="34" charset="0"/>
              </a:rPr>
              <a:t>Come concatenare più Promise ?</a:t>
            </a:r>
          </a:p>
          <a:p>
            <a:pPr algn="just" fontAlgn="base"/>
            <a:r>
              <a:rPr lang="it-IT" dirty="0">
                <a:cs typeface="Soho Gothic Pro" panose="020B0503030504020204" pitchFamily="34" charset="0"/>
              </a:rPr>
              <a:t>Teniamo sempre in mente la leggibilità del codice!</a:t>
            </a:r>
          </a:p>
          <a:p>
            <a:pPr algn="just" fontAlgn="base"/>
            <a:r>
              <a:rPr lang="it-IT" dirty="0">
                <a:cs typeface="Soho Gothic Pro" panose="020B0503030504020204" pitchFamily="34" charset="0"/>
              </a:rPr>
              <a:t>Un giorno potremmo non capire ciò che noi stessi abbiamo scritto!</a:t>
            </a:r>
          </a:p>
          <a:p>
            <a:pPr algn="just" fontAlgn="base"/>
            <a:r>
              <a:rPr lang="it-IT" dirty="0">
                <a:cs typeface="Soho Gothic Pro" panose="020B0503030504020204" pitchFamily="34" charset="0"/>
              </a:rPr>
              <a:t>Non esistono regole generali su come gestire l’asincronismo, ma di certo tra i fattori da tenere in mente abbiamo: </a:t>
            </a:r>
            <a:r>
              <a:rPr lang="it-IT" u="sng" dirty="0">
                <a:cs typeface="Soho Gothic Pro" panose="020B0503030504020204" pitchFamily="34" charset="0"/>
              </a:rPr>
              <a:t>performance</a:t>
            </a:r>
            <a:r>
              <a:rPr lang="it-IT" dirty="0">
                <a:cs typeface="Soho Gothic Pro" panose="020B0503030504020204" pitchFamily="34" charset="0"/>
              </a:rPr>
              <a:t> e </a:t>
            </a:r>
            <a:r>
              <a:rPr lang="it-IT" u="sng" dirty="0">
                <a:cs typeface="Soho Gothic Pro" panose="020B0503030504020204" pitchFamily="34" charset="0"/>
              </a:rPr>
              <a:t>manutenibilità</a:t>
            </a:r>
            <a:r>
              <a:rPr lang="it-IT" dirty="0">
                <a:cs typeface="Soho Gothic Pro" panose="020B0503030504020204" pitchFamily="34" charset="0"/>
              </a:rPr>
              <a:t>.</a:t>
            </a:r>
          </a:p>
          <a:p>
            <a:pPr algn="just" fontAlgn="base"/>
            <a:endParaRPr lang="it-IT" u="sng" dirty="0">
              <a:cs typeface="Soho Gothic Pro" panose="020B0503030504020204" pitchFamily="34" charset="0"/>
            </a:endParaRP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3317CE8E-4C6B-4D6C-9E00-321559EAB30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6000" y="3183912"/>
            <a:ext cx="3214890" cy="2645026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FA5918C9-DB69-494A-973C-EBAB199E692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50890" y="3361459"/>
            <a:ext cx="4302830" cy="2271510"/>
          </a:xfrm>
          <a:prstGeom prst="rect">
            <a:avLst/>
          </a:prstGeom>
        </p:spPr>
      </p:pic>
      <p:pic>
        <p:nvPicPr>
          <p:cNvPr id="10" name="Immagine 9">
            <a:extLst>
              <a:ext uri="{FF2B5EF4-FFF2-40B4-BE49-F238E27FC236}">
                <a16:creationId xmlns:a16="http://schemas.microsoft.com/office/drawing/2014/main" id="{56167CC1-37B6-4382-8F6A-6B56A1AF2E9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80527" y="3280124"/>
            <a:ext cx="3977778" cy="2452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94073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5291" y="3902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91" y="3902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3"/>
            </p:custDataLst>
          </p:nvPr>
        </p:nvSpPr>
        <p:spPr>
          <a:xfrm>
            <a:off x="3175" y="1786"/>
            <a:ext cx="211556" cy="2115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198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649095"/>
            <a:ext cx="11519451" cy="403641"/>
          </a:xfrm>
        </p:spPr>
        <p:txBody>
          <a:bodyPr/>
          <a:lstStyle/>
          <a:p>
            <a:pPr algn="ctr"/>
            <a:r>
              <a:rPr lang="it-IT" b="1" dirty="0"/>
              <a:t>Asincronismo: Promise </a:t>
            </a:r>
            <a:r>
              <a:rPr lang="it-IT" b="1" dirty="0" err="1"/>
              <a:t>chaining</a:t>
            </a:r>
            <a:endParaRPr lang="it-IT" b="1" dirty="0"/>
          </a:p>
        </p:txBody>
      </p:sp>
      <p:sp>
        <p:nvSpPr>
          <p:cNvPr id="6" name="Marcador de texto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ES" dirty="0"/>
              <a:t>Intro</a:t>
            </a:r>
          </a:p>
        </p:txBody>
      </p:sp>
      <p:sp>
        <p:nvSpPr>
          <p:cNvPr id="4" name="Rettangolo 3"/>
          <p:cNvSpPr/>
          <p:nvPr/>
        </p:nvSpPr>
        <p:spPr>
          <a:xfrm>
            <a:off x="444227" y="1480208"/>
            <a:ext cx="5878367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/>
            <a:r>
              <a:rPr lang="it-IT" dirty="0">
                <a:cs typeface="Soho Gothic Pro" panose="020B0503030504020204" pitchFamily="34" charset="0"/>
              </a:rPr>
              <a:t>In Javascript è presente la classe </a:t>
            </a:r>
            <a:r>
              <a:rPr lang="it-IT" dirty="0">
                <a:cs typeface="Soho Gothic Pro" panose="020B0503030504020204" pitchFamily="34" charset="0"/>
                <a:hlinkClick r:id="rId7"/>
              </a:rPr>
              <a:t>Promise</a:t>
            </a:r>
            <a:r>
              <a:rPr lang="it-IT" dirty="0">
                <a:cs typeface="Soho Gothic Pro" panose="020B0503030504020204" pitchFamily="34" charset="0"/>
              </a:rPr>
              <a:t> che fornisce una serie di metodi statici che semplifica l’allocazione e l’utilizzo di molteplici Promise:</a:t>
            </a:r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it-IT" b="1" dirty="0">
                <a:cs typeface="Soho Gothic Pro" panose="020B0503030504020204" pitchFamily="34" charset="0"/>
              </a:rPr>
              <a:t>.resolve(): </a:t>
            </a:r>
            <a:r>
              <a:rPr lang="it-IT" dirty="0">
                <a:cs typeface="Soho Gothic Pro" panose="020B0503030504020204" pitchFamily="34" charset="0"/>
              </a:rPr>
              <a:t>ritorna una Promise con stato fulfilled</a:t>
            </a:r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it-IT" b="1" dirty="0">
                <a:cs typeface="Soho Gothic Pro" panose="020B0503030504020204" pitchFamily="34" charset="0"/>
              </a:rPr>
              <a:t>.reject(): </a:t>
            </a:r>
            <a:r>
              <a:rPr lang="it-IT" dirty="0">
                <a:cs typeface="Soho Gothic Pro" panose="020B0503030504020204" pitchFamily="34" charset="0"/>
              </a:rPr>
              <a:t>ritorna una Promise con stato rejected</a:t>
            </a:r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it-IT" b="1" dirty="0">
                <a:cs typeface="Soho Gothic Pro" panose="020B0503030504020204" pitchFamily="34" charset="0"/>
              </a:rPr>
              <a:t>.all(): </a:t>
            </a:r>
            <a:r>
              <a:rPr lang="it-IT" dirty="0">
                <a:cs typeface="Soho Gothic Pro" panose="020B0503030504020204" pitchFamily="34" charset="0"/>
              </a:rPr>
              <a:t>dato un array di Promise, ritorna una Promise che ricade nello stato fulfilled se tutte concludono o alla prima che fallisce</a:t>
            </a:r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it-IT" b="1" dirty="0">
                <a:cs typeface="Soho Gothic Pro" panose="020B0503030504020204" pitchFamily="34" charset="0"/>
              </a:rPr>
              <a:t>.any(): </a:t>
            </a:r>
            <a:r>
              <a:rPr lang="it-IT" dirty="0">
                <a:cs typeface="Soho Gothic Pro" panose="020B0503030504020204" pitchFamily="34" charset="0"/>
              </a:rPr>
              <a:t>ritorna una Promise che ricade in fulfilled quando almeno una dell’array è terminata. Il valore di ritorno ricade in rejected se tutte falliscono</a:t>
            </a:r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it-IT" dirty="0">
                <a:cs typeface="Soho Gothic Pro" panose="020B0503030504020204" pitchFamily="34" charset="0"/>
              </a:rPr>
              <a:t>…</a:t>
            </a:r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919738BC-BFD5-4D4C-87B6-7E9A36DC4C7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659691" y="1436577"/>
            <a:ext cx="3359599" cy="1751791"/>
          </a:xfrm>
          <a:prstGeom prst="rect">
            <a:avLst/>
          </a:prstGeom>
        </p:spPr>
      </p:pic>
      <p:pic>
        <p:nvPicPr>
          <p:cNvPr id="11" name="Immagine 10">
            <a:extLst>
              <a:ext uri="{FF2B5EF4-FFF2-40B4-BE49-F238E27FC236}">
                <a16:creationId xmlns:a16="http://schemas.microsoft.com/office/drawing/2014/main" id="{59E1A6A2-5B07-46EE-A45B-C94A73DA3A9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97388" y="3257792"/>
            <a:ext cx="3084204" cy="2576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80909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5291" y="3902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7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91" y="3902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3"/>
            </p:custDataLst>
          </p:nvPr>
        </p:nvSpPr>
        <p:spPr>
          <a:xfrm>
            <a:off x="3175" y="1786"/>
            <a:ext cx="211556" cy="2115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3198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649095"/>
            <a:ext cx="11519451" cy="403641"/>
          </a:xfrm>
        </p:spPr>
        <p:txBody>
          <a:bodyPr/>
          <a:lstStyle/>
          <a:p>
            <a:pPr algn="ctr"/>
            <a:r>
              <a:rPr lang="it-IT" b="1" dirty="0"/>
              <a:t>Asincronismo: async/ </a:t>
            </a:r>
            <a:r>
              <a:rPr lang="it-IT" b="1" dirty="0" err="1"/>
              <a:t>await</a:t>
            </a:r>
            <a:endParaRPr lang="it-IT" b="1" dirty="0"/>
          </a:p>
        </p:txBody>
      </p:sp>
      <p:sp>
        <p:nvSpPr>
          <p:cNvPr id="6" name="Marcador de texto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ES" dirty="0"/>
              <a:t>Intro</a:t>
            </a:r>
          </a:p>
        </p:txBody>
      </p:sp>
      <p:sp>
        <p:nvSpPr>
          <p:cNvPr id="4" name="Rettangolo 3"/>
          <p:cNvSpPr/>
          <p:nvPr/>
        </p:nvSpPr>
        <p:spPr>
          <a:xfrm>
            <a:off x="444227" y="2413337"/>
            <a:ext cx="5878367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/>
            <a:r>
              <a:rPr lang="it-IT" dirty="0">
                <a:cs typeface="Soho Gothic Pro" panose="020B0503030504020204" pitchFamily="34" charset="0"/>
              </a:rPr>
              <a:t>Le ultime versioni di JS contengono delle keyword speciali che facilitano la scrittura codice asincrono:</a:t>
            </a:r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it-IT" b="1" dirty="0">
                <a:cs typeface="Soho Gothic Pro" panose="020B0503030504020204" pitchFamily="34" charset="0"/>
              </a:rPr>
              <a:t>Async</a:t>
            </a:r>
            <a:r>
              <a:rPr lang="it-IT" dirty="0">
                <a:cs typeface="Soho Gothic Pro" panose="020B0503030504020204" pitchFamily="34" charset="0"/>
              </a:rPr>
              <a:t>: keyword che antepone un metodo asincrono e che accerta che questo ritorni un oggetto di classe Promise, altrimenti l’oggetto ritornato è inserito in una Promise.</a:t>
            </a:r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it-IT" b="1" dirty="0">
                <a:cs typeface="Soho Gothic Pro" panose="020B0503030504020204" pitchFamily="34" charset="0"/>
              </a:rPr>
              <a:t>Await</a:t>
            </a:r>
            <a:r>
              <a:rPr lang="it-IT" dirty="0">
                <a:cs typeface="Soho Gothic Pro" panose="020B0503030504020204" pitchFamily="34" charset="0"/>
              </a:rPr>
              <a:t>: keyword da utilizzare solo nei metodi denotati con async, pone in pausa l’esecuzione fino allo stato Settled</a:t>
            </a: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67A6AFA8-2307-4642-97F6-CE7510F439D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93405" y="2034268"/>
            <a:ext cx="4180610" cy="2789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32933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URq.1AS1Ob7ZPiL560.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URq.1AS1Ob7ZPiL560.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URq.1AS1Ob7ZPiL560.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URq.1AS1Ob7ZPiL560.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URq.1AS1Ob7ZPiL560.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URq.1AS1Ob7ZPiL560.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URq.1AS1Ob7ZPiL560.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URq.1AS1Ob7ZPiL560.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URq.1AS1Ob7ZPiL560.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9hlEM7StWywm5YGpOiP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URq.1AS1Ob7ZPiL560.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URq.1AS1Ob7ZPiL560.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URq.1AS1Ob7ZPiL560.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URq.1AS1Ob7ZPiL560.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URq.1AS1Ob7ZPiL560.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9hlEM7StWywm5YGpOiP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URq.1AS1Ob7ZPiL560.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URq.1AS1Ob7ZPiL560.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URq.1AS1Ob7ZPiL560.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8f5eed44-b243-4965-b8fc-597ffb782c78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56FD0391083C7440B2BBD05D20D33AFB" ma:contentTypeVersion="14" ma:contentTypeDescription="Crear nuevo documento." ma:contentTypeScope="" ma:versionID="b78cfb464ecce2f1109b043e5cea463f">
  <xsd:schema xmlns:xsd="http://www.w3.org/2001/XMLSchema" xmlns:xs="http://www.w3.org/2001/XMLSchema" xmlns:p="http://schemas.microsoft.com/office/2006/metadata/properties" xmlns:ns3="fb9213c6-a1d2-4ee2-85b8-6a048931a909" xmlns:ns4="8f5eed44-b243-4965-b8fc-597ffb782c78" targetNamespace="http://schemas.microsoft.com/office/2006/metadata/properties" ma:root="true" ma:fieldsID="9e662899768a796dc5612dad341a7fc3" ns3:_="" ns4:_="">
    <xsd:import namespace="fb9213c6-a1d2-4ee2-85b8-6a048931a909"/>
    <xsd:import namespace="8f5eed44-b243-4965-b8fc-597ffb782c78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AutoKeyPoints" minOccurs="0"/>
                <xsd:element ref="ns4:MediaServiceKeyPoints" minOccurs="0"/>
                <xsd:element ref="ns4:MediaLengthInSeconds" minOccurs="0"/>
                <xsd:element ref="ns4:_activit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9213c6-a1d2-4ee2-85b8-6a048931a90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Hash de la sugerencia para compartir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5eed44-b243-4965-b8fc-597ffb782c7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E7B7F40-4085-4867-9DBB-61223604BBF5}">
  <ds:schemaRefs>
    <ds:schemaRef ds:uri="http://purl.org/dc/dcmitype/"/>
    <ds:schemaRef ds:uri="http://schemas.openxmlformats.org/package/2006/metadata/core-properties"/>
    <ds:schemaRef ds:uri="http://schemas.microsoft.com/office/2006/metadata/properties"/>
    <ds:schemaRef ds:uri="http://schemas.microsoft.com/office/2006/documentManagement/types"/>
    <ds:schemaRef ds:uri="http://purl.org/dc/terms/"/>
    <ds:schemaRef ds:uri="http://www.w3.org/XML/1998/namespace"/>
    <ds:schemaRef ds:uri="http://purl.org/dc/elements/1.1/"/>
    <ds:schemaRef ds:uri="http://schemas.microsoft.com/office/infopath/2007/PartnerControls"/>
    <ds:schemaRef ds:uri="8f5eed44-b243-4965-b8fc-597ffb782c78"/>
    <ds:schemaRef ds:uri="fb9213c6-a1d2-4ee2-85b8-6a048931a909"/>
  </ds:schemaRefs>
</ds:datastoreItem>
</file>

<file path=customXml/itemProps2.xml><?xml version="1.0" encoding="utf-8"?>
<ds:datastoreItem xmlns:ds="http://schemas.openxmlformats.org/officeDocument/2006/customXml" ds:itemID="{4C74F5D5-AF20-4B1C-A2BD-A5275C25D95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063CE8F-4951-4E3D-BA1C-574E9AA4F00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b9213c6-a1d2-4ee2-85b8-6a048931a909"/>
    <ds:schemaRef ds:uri="8f5eed44-b243-4965-b8fc-597ffb782c7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400</TotalTime>
  <Words>1570</Words>
  <Application>Microsoft Office PowerPoint</Application>
  <PresentationFormat>Widescreen</PresentationFormat>
  <Paragraphs>150</Paragraphs>
  <Slides>20</Slides>
  <Notes>0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5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20</vt:i4>
      </vt:variant>
    </vt:vector>
  </HeadingPairs>
  <TitlesOfParts>
    <vt:vector size="27" baseType="lpstr">
      <vt:lpstr>Arial</vt:lpstr>
      <vt:lpstr>Calibri</vt:lpstr>
      <vt:lpstr>Calibri Light</vt:lpstr>
      <vt:lpstr>Playfair Display</vt:lpstr>
      <vt:lpstr>Soho Gothic Pro</vt:lpstr>
      <vt:lpstr>Tema di Office</vt:lpstr>
      <vt:lpstr>Diapositiva de think-cell</vt:lpstr>
      <vt:lpstr>Observable, Promise e Routing</vt:lpstr>
      <vt:lpstr>Asincronimo: Promise Observable</vt:lpstr>
      <vt:lpstr>Asincronismo</vt:lpstr>
      <vt:lpstr>Asincronismo</vt:lpstr>
      <vt:lpstr>Asincronismo: Promise</vt:lpstr>
      <vt:lpstr>Asincronismo: Promise</vt:lpstr>
      <vt:lpstr>Asincronismo: Promise chaining</vt:lpstr>
      <vt:lpstr>Asincronismo: Promise chaining</vt:lpstr>
      <vt:lpstr>Asincronismo: async/ await</vt:lpstr>
      <vt:lpstr>Asincronismo: Observable</vt:lpstr>
      <vt:lpstr>Asincronismo: Observable</vt:lpstr>
      <vt:lpstr>Asincronismo: Observable (pipeable operators)</vt:lpstr>
      <vt:lpstr>Asincronismo: Observable vs Promise</vt:lpstr>
      <vt:lpstr>Routing</vt:lpstr>
      <vt:lpstr>Routing: main concepts</vt:lpstr>
      <vt:lpstr>Routing: Angular</vt:lpstr>
      <vt:lpstr>Routing: Angular (Guard)</vt:lpstr>
      <vt:lpstr>Routing: Angular (Guard)</vt:lpstr>
      <vt:lpstr>Routing: Angular (Resolve)</vt:lpstr>
      <vt:lpstr>Routing: Angular (Resolve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Torre, Antonio</dc:creator>
  <cp:lastModifiedBy>Schiavo, Alessandro</cp:lastModifiedBy>
  <cp:revision>57</cp:revision>
  <dcterms:created xsi:type="dcterms:W3CDTF">2023-03-04T02:48:15Z</dcterms:created>
  <dcterms:modified xsi:type="dcterms:W3CDTF">2024-05-22T11:40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FD0391083C7440B2BBD05D20D33AFB</vt:lpwstr>
  </property>
</Properties>
</file>